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8.xml" ContentType="application/vnd.openxmlformats-officedocument.presentationml.tags+xml"/>
  <Override PartName="/ppt/notesSlides/notesSlide1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2.xml" ContentType="application/vnd.openxmlformats-officedocument.presentationml.notesSlide+xml"/>
  <Override PartName="/ppt/tags/tag32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5185" r:id="rId4"/>
  </p:sldMasterIdLst>
  <p:notesMasterIdLst>
    <p:notesMasterId r:id="rId11"/>
  </p:notesMasterIdLst>
  <p:handoutMasterIdLst>
    <p:handoutMasterId r:id="rId12"/>
  </p:handoutMasterIdLst>
  <p:sldIdLst>
    <p:sldId id="2147480077" r:id="rId5"/>
    <p:sldId id="286" r:id="rId6"/>
    <p:sldId id="2147479876" r:id="rId7"/>
    <p:sldId id="2147480078" r:id="rId8"/>
    <p:sldId id="2147480076" r:id="rId9"/>
    <p:sldId id="278" r:id="rId10"/>
  </p:sldIdLst>
  <p:sldSz cx="12192000" cy="6858000"/>
  <p:notesSz cx="6950075" cy="9236075"/>
  <p:custShowLst>
    <p:custShow name="Format Guide Workshop" id="0">
      <p:sldLst/>
    </p:custShow>
  </p:custShowLst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68298"/>
    <a:srgbClr val="B4C7E6"/>
    <a:srgbClr val="81A1D5"/>
    <a:srgbClr val="F3F6FB"/>
    <a:srgbClr val="729BD8"/>
    <a:srgbClr val="90B0E0"/>
    <a:srgbClr val="DCE6F5"/>
    <a:srgbClr val="3679B0"/>
    <a:srgbClr val="6FA6D3"/>
    <a:srgbClr val="A1C5E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176D17D-BE2C-400E-8244-B3942F313002}" v="762" dt="2023-06-13T15:50:53.29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5193" autoAdjust="0"/>
  </p:normalViewPr>
  <p:slideViewPr>
    <p:cSldViewPr snapToGrid="0">
      <p:cViewPr>
        <p:scale>
          <a:sx n="67" d="100"/>
          <a:sy n="67" d="100"/>
        </p:scale>
        <p:origin x="76" y="18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gs" Target="tags/tag1.xml"/><Relationship Id="rId18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3"/>
            <a:ext cx="3011699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en-US" sz="80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36770" y="3"/>
            <a:ext cx="3011699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57691E93-EF64-46CC-85E2-BBB5BEDB9501}" type="datetimeFigureOut">
              <a:rPr lang="en-US" sz="800"/>
              <a:t>6/14/2023</a:t>
            </a:fld>
            <a:endParaRPr lang="en-US" sz="80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8772671"/>
            <a:ext cx="3011699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endParaRPr lang="en-US" sz="80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36770" y="8772671"/>
            <a:ext cx="3011699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3DCECA85-2A7A-423F-89EA-6868CB52DF19}" type="slidenum">
              <a:rPr lang="en-US" sz="800"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17093775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/>
          <p:cNvSpPr/>
          <p:nvPr/>
        </p:nvSpPr>
        <p:spPr>
          <a:xfrm>
            <a:off x="0" y="4410720"/>
            <a:ext cx="6948467" cy="482535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492" tIns="46246" rIns="92492" bIns="46246" rtlCol="0" anchor="ctr"/>
          <a:lstStyle/>
          <a:p>
            <a:pPr algn="ctr"/>
            <a:endParaRPr lang="en-US"/>
          </a:p>
        </p:txBody>
      </p:sp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82427" y="3"/>
            <a:ext cx="2929274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400"/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56103" y="575009"/>
            <a:ext cx="6620256" cy="3724113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  <p:txBody>
          <a:bodyPr vert="horz" lIns="92492" tIns="46246" rIns="92492" bIns="46246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82427" y="8744096"/>
            <a:ext cx="2929274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4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6770" y="8744096"/>
            <a:ext cx="2919957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400"/>
            </a:lvl1pPr>
          </a:lstStyle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59519" y="4714653"/>
            <a:ext cx="6413424" cy="3768947"/>
          </a:xfrm>
          <a:prstGeom prst="rect">
            <a:avLst/>
          </a:prstGeom>
        </p:spPr>
        <p:txBody>
          <a:bodyPr vert="horz" lIns="92492" tIns="46246" rIns="92492" bIns="46246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idx="1"/>
          </p:nvPr>
        </p:nvSpPr>
        <p:spPr>
          <a:xfrm>
            <a:off x="3937000" y="0"/>
            <a:ext cx="3011488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2C7CF5F-7CF3-4DF3-838A-EE34544862CC}" type="datetimeFigureOut">
              <a:rPr lang="en-US" smtClean="0"/>
              <a:t>6/14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33622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spcAft>
        <a:spcPts val="600"/>
      </a:spcAft>
      <a:buFont typeface="Arial" panose="020B0604020202020204" pitchFamily="34" charset="0"/>
      <a:buChar char="​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1430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286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1435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6858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000" i="1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910" userDrawn="1">
          <p15:clr>
            <a:srgbClr val="F26B43"/>
          </p15:clr>
        </p15:guide>
        <p15:guide id="2" pos="2189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49141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06559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9.png"/><Relationship Id="rId4" Type="http://schemas.openxmlformats.org/officeDocument/2006/relationships/image" Target="../media/image8.emf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0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11.png"/><Relationship Id="rId4" Type="http://schemas.openxmlformats.org/officeDocument/2006/relationships/image" Target="../media/image8.emf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12.png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2.xml"/><Relationship Id="rId7" Type="http://schemas.openxmlformats.org/officeDocument/2006/relationships/image" Target="../media/image3.pn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5" Type="http://schemas.openxmlformats.org/officeDocument/2006/relationships/image" Target="../media/image6.png"/><Relationship Id="rId4" Type="http://schemas.openxmlformats.org/officeDocument/2006/relationships/image" Target="../media/image8.emf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0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11.png"/><Relationship Id="rId4" Type="http://schemas.openxmlformats.org/officeDocument/2006/relationships/image" Target="../media/image2.emf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6" Type="http://schemas.openxmlformats.org/officeDocument/2006/relationships/image" Target="../media/image12.png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46CA6D2-4031-4A87-A175-5CABFEA5EDC9}"/>
              </a:ext>
            </a:extLst>
          </p:cNvPr>
          <p:cNvSpPr/>
          <p:nvPr userDrawn="1"/>
        </p:nvSpPr>
        <p:spPr>
          <a:xfrm>
            <a:off x="0" y="5279183"/>
            <a:ext cx="12192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6E5AB63F-75C5-4589-AE6B-33B373D2D94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/>
        </p:blipFill>
        <p:spPr>
          <a:xfrm rot="16200000" flipH="1">
            <a:off x="8471921" y="1973272"/>
            <a:ext cx="580573" cy="68580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EADB332D-E814-491D-8371-965BD3DD695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/>
          <a:srcRect l="4227" t="14039" b="31097"/>
          <a:stretch/>
        </p:blipFill>
        <p:spPr>
          <a:xfrm>
            <a:off x="0" y="0"/>
            <a:ext cx="12192000" cy="5271807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977C4EEE-0FB4-46E9-8A34-0D970A384786}"/>
              </a:ext>
            </a:extLst>
          </p:cNvPr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299AFE08-290E-4739-B2B6-2845C466A69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117415" y="6207842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accent5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/>
              <a:t>Click to edit date/place</a:t>
            </a:r>
          </a:p>
        </p:txBody>
      </p:sp>
      <p:sp>
        <p:nvSpPr>
          <p:cNvPr id="25" name="Subtitle 2">
            <a:extLst>
              <a:ext uri="{FF2B5EF4-FFF2-40B4-BE49-F238E27FC236}">
                <a16:creationId xmlns:a16="http://schemas.microsoft.com/office/drawing/2014/main" id="{50E3EB3F-EFF8-4454-B020-62AA36B92DA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1117415" y="5495706"/>
            <a:ext cx="6868800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 in sentence case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FCE37AAE-3EE7-488D-AE5E-4746A6ADD0E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ltGray">
          <a:xfrm>
            <a:off x="1117415" y="1886242"/>
            <a:ext cx="6868800" cy="3138423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Title in Title Case</a:t>
            </a:r>
          </a:p>
        </p:txBody>
      </p:sp>
      <p:sp>
        <p:nvSpPr>
          <p:cNvPr id="29" name="Freeform 32">
            <a:extLst>
              <a:ext uri="{FF2B5EF4-FFF2-40B4-BE49-F238E27FC236}">
                <a16:creationId xmlns:a16="http://schemas.microsoft.com/office/drawing/2014/main" id="{35F73D99-D61F-4EEB-B50F-445E069861B6}"/>
              </a:ext>
            </a:extLst>
          </p:cNvPr>
          <p:cNvSpPr>
            <a:spLocks noChangeAspect="1"/>
          </p:cNvSpPr>
          <p:nvPr userDrawn="1">
            <p:custDataLst>
              <p:tags r:id="rId3"/>
            </p:custDataLst>
          </p:nvPr>
        </p:nvSpPr>
        <p:spPr bwMode="auto">
          <a:xfrm>
            <a:off x="1117415" y="1112679"/>
            <a:ext cx="2327644" cy="486479"/>
          </a:xfrm>
          <a:custGeom>
            <a:avLst/>
            <a:gdLst>
              <a:gd name="connsiteX0" fmla="*/ 8982072 w 11499847"/>
              <a:gd name="connsiteY0" fmla="*/ 1919288 h 2403475"/>
              <a:gd name="connsiteX1" fmla="*/ 8982072 w 11499847"/>
              <a:gd name="connsiteY1" fmla="*/ 2105026 h 2403475"/>
              <a:gd name="connsiteX2" fmla="*/ 9098233 w 11499847"/>
              <a:gd name="connsiteY2" fmla="*/ 2105026 h 2403475"/>
              <a:gd name="connsiteX3" fmla="*/ 9164880 w 11499847"/>
              <a:gd name="connsiteY3" fmla="*/ 2080233 h 2403475"/>
              <a:gd name="connsiteX4" fmla="*/ 9191622 w 11499847"/>
              <a:gd name="connsiteY4" fmla="*/ 2011737 h 2403475"/>
              <a:gd name="connsiteX5" fmla="*/ 9164880 w 11499847"/>
              <a:gd name="connsiteY5" fmla="*/ 1944501 h 2403475"/>
              <a:gd name="connsiteX6" fmla="*/ 9098233 w 11499847"/>
              <a:gd name="connsiteY6" fmla="*/ 1919288 h 2403475"/>
              <a:gd name="connsiteX7" fmla="*/ 8982072 w 11499847"/>
              <a:gd name="connsiteY7" fmla="*/ 1919288 h 2403475"/>
              <a:gd name="connsiteX8" fmla="*/ 7280272 w 11499847"/>
              <a:gd name="connsiteY8" fmla="*/ 1919288 h 2403475"/>
              <a:gd name="connsiteX9" fmla="*/ 7280272 w 11499847"/>
              <a:gd name="connsiteY9" fmla="*/ 2097088 h 2403475"/>
              <a:gd name="connsiteX10" fmla="*/ 7404503 w 11499847"/>
              <a:gd name="connsiteY10" fmla="*/ 2097088 h 2403475"/>
              <a:gd name="connsiteX11" fmla="*/ 7469027 w 11499847"/>
              <a:gd name="connsiteY11" fmla="*/ 2073423 h 2403475"/>
              <a:gd name="connsiteX12" fmla="*/ 7494585 w 11499847"/>
              <a:gd name="connsiteY12" fmla="*/ 2008502 h 2403475"/>
              <a:gd name="connsiteX13" fmla="*/ 7469027 w 11499847"/>
              <a:gd name="connsiteY13" fmla="*/ 1943581 h 2403475"/>
              <a:gd name="connsiteX14" fmla="*/ 7404503 w 11499847"/>
              <a:gd name="connsiteY14" fmla="*/ 1919288 h 2403475"/>
              <a:gd name="connsiteX15" fmla="*/ 7280272 w 11499847"/>
              <a:gd name="connsiteY15" fmla="*/ 1919288 h 2403475"/>
              <a:gd name="connsiteX16" fmla="*/ 7945015 w 11499847"/>
              <a:gd name="connsiteY16" fmla="*/ 1909763 h 2403475"/>
              <a:gd name="connsiteX17" fmla="*/ 7813574 w 11499847"/>
              <a:gd name="connsiteY17" fmla="*/ 1965330 h 2403475"/>
              <a:gd name="connsiteX18" fmla="*/ 7759697 w 11499847"/>
              <a:gd name="connsiteY18" fmla="*/ 2100368 h 2403475"/>
              <a:gd name="connsiteX19" fmla="*/ 7813574 w 11499847"/>
              <a:gd name="connsiteY19" fmla="*/ 2235406 h 2403475"/>
              <a:gd name="connsiteX20" fmla="*/ 7945015 w 11499847"/>
              <a:gd name="connsiteY20" fmla="*/ 2290763 h 2403475"/>
              <a:gd name="connsiteX21" fmla="*/ 8077086 w 11499847"/>
              <a:gd name="connsiteY21" fmla="*/ 2235825 h 2403475"/>
              <a:gd name="connsiteX22" fmla="*/ 8131172 w 11499847"/>
              <a:gd name="connsiteY22" fmla="*/ 2100368 h 2403475"/>
              <a:gd name="connsiteX23" fmla="*/ 8076876 w 11499847"/>
              <a:gd name="connsiteY23" fmla="*/ 1965330 h 2403475"/>
              <a:gd name="connsiteX24" fmla="*/ 7945015 w 11499847"/>
              <a:gd name="connsiteY24" fmla="*/ 1909763 h 2403475"/>
              <a:gd name="connsiteX25" fmla="*/ 8899522 w 11499847"/>
              <a:gd name="connsiteY25" fmla="*/ 1844675 h 2403475"/>
              <a:gd name="connsiteX26" fmla="*/ 9098598 w 11499847"/>
              <a:gd name="connsiteY26" fmla="*/ 1844675 h 2403475"/>
              <a:gd name="connsiteX27" fmla="*/ 9228521 w 11499847"/>
              <a:gd name="connsiteY27" fmla="*/ 1892741 h 2403475"/>
              <a:gd name="connsiteX28" fmla="*/ 9277347 w 11499847"/>
              <a:gd name="connsiteY28" fmla="*/ 2011236 h 2403475"/>
              <a:gd name="connsiteX29" fmla="*/ 9228521 w 11499847"/>
              <a:gd name="connsiteY29" fmla="*/ 2129521 h 2403475"/>
              <a:gd name="connsiteX30" fmla="*/ 9098598 w 11499847"/>
              <a:gd name="connsiteY30" fmla="*/ 2177796 h 2403475"/>
              <a:gd name="connsiteX31" fmla="*/ 8982086 w 11499847"/>
              <a:gd name="connsiteY31" fmla="*/ 2177796 h 2403475"/>
              <a:gd name="connsiteX32" fmla="*/ 8982086 w 11499847"/>
              <a:gd name="connsiteY32" fmla="*/ 2355850 h 2403475"/>
              <a:gd name="connsiteX33" fmla="*/ 8899522 w 11499847"/>
              <a:gd name="connsiteY33" fmla="*/ 2355850 h 2403475"/>
              <a:gd name="connsiteX34" fmla="*/ 8899522 w 11499847"/>
              <a:gd name="connsiteY34" fmla="*/ 1844675 h 2403475"/>
              <a:gd name="connsiteX35" fmla="*/ 8324847 w 11499847"/>
              <a:gd name="connsiteY35" fmla="*/ 1844675 h 2403475"/>
              <a:gd name="connsiteX36" fmla="*/ 8407608 w 11499847"/>
              <a:gd name="connsiteY36" fmla="*/ 1844675 h 2403475"/>
              <a:gd name="connsiteX37" fmla="*/ 8407608 w 11499847"/>
              <a:gd name="connsiteY37" fmla="*/ 2158090 h 2403475"/>
              <a:gd name="connsiteX38" fmla="*/ 8443017 w 11499847"/>
              <a:gd name="connsiteY38" fmla="*/ 2252595 h 2403475"/>
              <a:gd name="connsiteX39" fmla="*/ 8537931 w 11499847"/>
              <a:gd name="connsiteY39" fmla="*/ 2291066 h 2403475"/>
              <a:gd name="connsiteX40" fmla="*/ 8631797 w 11499847"/>
              <a:gd name="connsiteY40" fmla="*/ 2252595 h 2403475"/>
              <a:gd name="connsiteX41" fmla="*/ 8667415 w 11499847"/>
              <a:gd name="connsiteY41" fmla="*/ 2158090 h 2403475"/>
              <a:gd name="connsiteX42" fmla="*/ 8667415 w 11499847"/>
              <a:gd name="connsiteY42" fmla="*/ 1844675 h 2403475"/>
              <a:gd name="connsiteX43" fmla="*/ 8748710 w 11499847"/>
              <a:gd name="connsiteY43" fmla="*/ 1844675 h 2403475"/>
              <a:gd name="connsiteX44" fmla="*/ 8748710 w 11499847"/>
              <a:gd name="connsiteY44" fmla="*/ 2158717 h 2403475"/>
              <a:gd name="connsiteX45" fmla="*/ 8688577 w 11499847"/>
              <a:gd name="connsiteY45" fmla="*/ 2307793 h 2403475"/>
              <a:gd name="connsiteX46" fmla="*/ 8537093 w 11499847"/>
              <a:gd name="connsiteY46" fmla="*/ 2366963 h 2403475"/>
              <a:gd name="connsiteX47" fmla="*/ 8385399 w 11499847"/>
              <a:gd name="connsiteY47" fmla="*/ 2307793 h 2403475"/>
              <a:gd name="connsiteX48" fmla="*/ 8324847 w 11499847"/>
              <a:gd name="connsiteY48" fmla="*/ 2158717 h 2403475"/>
              <a:gd name="connsiteX49" fmla="*/ 8324847 w 11499847"/>
              <a:gd name="connsiteY49" fmla="*/ 1844675 h 2403475"/>
              <a:gd name="connsiteX50" fmla="*/ 7197722 w 11499847"/>
              <a:gd name="connsiteY50" fmla="*/ 1844675 h 2403475"/>
              <a:gd name="connsiteX51" fmla="*/ 7404196 w 11499847"/>
              <a:gd name="connsiteY51" fmla="*/ 1844675 h 2403475"/>
              <a:gd name="connsiteX52" fmla="*/ 7531336 w 11499847"/>
              <a:gd name="connsiteY52" fmla="*/ 1891906 h 2403475"/>
              <a:gd name="connsiteX53" fmla="*/ 7578727 w 11499847"/>
              <a:gd name="connsiteY53" fmla="*/ 2008937 h 2403475"/>
              <a:gd name="connsiteX54" fmla="*/ 7548455 w 11499847"/>
              <a:gd name="connsiteY54" fmla="*/ 2106950 h 2403475"/>
              <a:gd name="connsiteX55" fmla="*/ 7464947 w 11499847"/>
              <a:gd name="connsiteY55" fmla="*/ 2161495 h 2403475"/>
              <a:gd name="connsiteX56" fmla="*/ 7525699 w 11499847"/>
              <a:gd name="connsiteY56" fmla="*/ 2258673 h 2403475"/>
              <a:gd name="connsiteX57" fmla="*/ 7586660 w 11499847"/>
              <a:gd name="connsiteY57" fmla="*/ 2355850 h 2403475"/>
              <a:gd name="connsiteX58" fmla="*/ 7491044 w 11499847"/>
              <a:gd name="connsiteY58" fmla="*/ 2355850 h 2403475"/>
              <a:gd name="connsiteX59" fmla="*/ 7434676 w 11499847"/>
              <a:gd name="connsiteY59" fmla="*/ 2263479 h 2403475"/>
              <a:gd name="connsiteX60" fmla="*/ 7378099 w 11499847"/>
              <a:gd name="connsiteY60" fmla="*/ 2171108 h 2403475"/>
              <a:gd name="connsiteX61" fmla="*/ 7280395 w 11499847"/>
              <a:gd name="connsiteY61" fmla="*/ 2171108 h 2403475"/>
              <a:gd name="connsiteX62" fmla="*/ 7280395 w 11499847"/>
              <a:gd name="connsiteY62" fmla="*/ 2355850 h 2403475"/>
              <a:gd name="connsiteX63" fmla="*/ 7197722 w 11499847"/>
              <a:gd name="connsiteY63" fmla="*/ 2355850 h 2403475"/>
              <a:gd name="connsiteX64" fmla="*/ 7197722 w 11499847"/>
              <a:gd name="connsiteY64" fmla="*/ 1844675 h 2403475"/>
              <a:gd name="connsiteX65" fmla="*/ 7945016 w 11499847"/>
              <a:gd name="connsiteY65" fmla="*/ 1833563 h 2403475"/>
              <a:gd name="connsiteX66" fmla="*/ 8136527 w 11499847"/>
              <a:gd name="connsiteY66" fmla="*/ 1911974 h 2403475"/>
              <a:gd name="connsiteX67" fmla="*/ 8215310 w 11499847"/>
              <a:gd name="connsiteY67" fmla="*/ 2100368 h 2403475"/>
              <a:gd name="connsiteX68" fmla="*/ 8136527 w 11499847"/>
              <a:gd name="connsiteY68" fmla="*/ 2288762 h 2403475"/>
              <a:gd name="connsiteX69" fmla="*/ 7945016 w 11499847"/>
              <a:gd name="connsiteY69" fmla="*/ 2366963 h 2403475"/>
              <a:gd name="connsiteX70" fmla="*/ 7754134 w 11499847"/>
              <a:gd name="connsiteY70" fmla="*/ 2288762 h 2403475"/>
              <a:gd name="connsiteX71" fmla="*/ 7675560 w 11499847"/>
              <a:gd name="connsiteY71" fmla="*/ 2100368 h 2403475"/>
              <a:gd name="connsiteX72" fmla="*/ 7754134 w 11499847"/>
              <a:gd name="connsiteY72" fmla="*/ 1911974 h 2403475"/>
              <a:gd name="connsiteX73" fmla="*/ 7945016 w 11499847"/>
              <a:gd name="connsiteY73" fmla="*/ 1833563 h 2403475"/>
              <a:gd name="connsiteX74" fmla="*/ 6834872 w 11499847"/>
              <a:gd name="connsiteY74" fmla="*/ 1833563 h 2403475"/>
              <a:gd name="connsiteX75" fmla="*/ 6921875 w 11499847"/>
              <a:gd name="connsiteY75" fmla="*/ 1845482 h 2403475"/>
              <a:gd name="connsiteX76" fmla="*/ 6996090 w 11499847"/>
              <a:gd name="connsiteY76" fmla="*/ 1881028 h 2403475"/>
              <a:gd name="connsiteX77" fmla="*/ 6974496 w 11499847"/>
              <a:gd name="connsiteY77" fmla="*/ 1914692 h 2403475"/>
              <a:gd name="connsiteX78" fmla="*/ 6952903 w 11499847"/>
              <a:gd name="connsiteY78" fmla="*/ 1948356 h 2403475"/>
              <a:gd name="connsiteX79" fmla="*/ 6897556 w 11499847"/>
              <a:gd name="connsiteY79" fmla="*/ 1919501 h 2403475"/>
              <a:gd name="connsiteX80" fmla="*/ 6834243 w 11499847"/>
              <a:gd name="connsiteY80" fmla="*/ 1910301 h 2403475"/>
              <a:gd name="connsiteX81" fmla="*/ 6703424 w 11499847"/>
              <a:gd name="connsiteY81" fmla="*/ 1965084 h 2403475"/>
              <a:gd name="connsiteX82" fmla="*/ 6650384 w 11499847"/>
              <a:gd name="connsiteY82" fmla="*/ 2100368 h 2403475"/>
              <a:gd name="connsiteX83" fmla="*/ 6701957 w 11499847"/>
              <a:gd name="connsiteY83" fmla="*/ 2236070 h 2403475"/>
              <a:gd name="connsiteX84" fmla="*/ 6831308 w 11499847"/>
              <a:gd name="connsiteY84" fmla="*/ 2291062 h 2403475"/>
              <a:gd name="connsiteX85" fmla="*/ 6945984 w 11499847"/>
              <a:gd name="connsiteY85" fmla="*/ 2250498 h 2403475"/>
              <a:gd name="connsiteX86" fmla="*/ 6999863 w 11499847"/>
              <a:gd name="connsiteY86" fmla="*/ 2148460 h 2403475"/>
              <a:gd name="connsiteX87" fmla="*/ 6825438 w 11499847"/>
              <a:gd name="connsiteY87" fmla="*/ 2148460 h 2403475"/>
              <a:gd name="connsiteX88" fmla="*/ 6849128 w 11499847"/>
              <a:gd name="connsiteY88" fmla="*/ 2111241 h 2403475"/>
              <a:gd name="connsiteX89" fmla="*/ 6873028 w 11499847"/>
              <a:gd name="connsiteY89" fmla="*/ 2074022 h 2403475"/>
              <a:gd name="connsiteX90" fmla="*/ 7078061 w 11499847"/>
              <a:gd name="connsiteY90" fmla="*/ 2074022 h 2403475"/>
              <a:gd name="connsiteX91" fmla="*/ 7080787 w 11499847"/>
              <a:gd name="connsiteY91" fmla="*/ 2090540 h 2403475"/>
              <a:gd name="connsiteX92" fmla="*/ 7081835 w 11499847"/>
              <a:gd name="connsiteY92" fmla="*/ 2110613 h 2403475"/>
              <a:gd name="connsiteX93" fmla="*/ 7011813 w 11499847"/>
              <a:gd name="connsiteY93" fmla="*/ 2293362 h 2403475"/>
              <a:gd name="connsiteX94" fmla="*/ 6830470 w 11499847"/>
              <a:gd name="connsiteY94" fmla="*/ 2366963 h 2403475"/>
              <a:gd name="connsiteX95" fmla="*/ 6642417 w 11499847"/>
              <a:gd name="connsiteY95" fmla="*/ 2289389 h 2403475"/>
              <a:gd name="connsiteX96" fmla="*/ 6565897 w 11499847"/>
              <a:gd name="connsiteY96" fmla="*/ 2100368 h 2403475"/>
              <a:gd name="connsiteX97" fmla="*/ 6644514 w 11499847"/>
              <a:gd name="connsiteY97" fmla="*/ 1911346 h 2403475"/>
              <a:gd name="connsiteX98" fmla="*/ 6834872 w 11499847"/>
              <a:gd name="connsiteY98" fmla="*/ 1833563 h 2403475"/>
              <a:gd name="connsiteX99" fmla="*/ 501650 w 11499847"/>
              <a:gd name="connsiteY99" fmla="*/ 1403350 h 2403475"/>
              <a:gd name="connsiteX100" fmla="*/ 501650 w 11499847"/>
              <a:gd name="connsiteY100" fmla="*/ 1925638 h 2403475"/>
              <a:gd name="connsiteX101" fmla="*/ 842112 w 11499847"/>
              <a:gd name="connsiteY101" fmla="*/ 1925638 h 2403475"/>
              <a:gd name="connsiteX102" fmla="*/ 1182574 w 11499847"/>
              <a:gd name="connsiteY102" fmla="*/ 1925638 h 2403475"/>
              <a:gd name="connsiteX103" fmla="*/ 1375900 w 11499847"/>
              <a:gd name="connsiteY103" fmla="*/ 1849684 h 2403475"/>
              <a:gd name="connsiteX104" fmla="*/ 1455738 w 11499847"/>
              <a:gd name="connsiteY104" fmla="*/ 1662720 h 2403475"/>
              <a:gd name="connsiteX105" fmla="*/ 1375900 w 11499847"/>
              <a:gd name="connsiteY105" fmla="*/ 1477635 h 2403475"/>
              <a:gd name="connsiteX106" fmla="*/ 1182574 w 11499847"/>
              <a:gd name="connsiteY106" fmla="*/ 1403350 h 2403475"/>
              <a:gd name="connsiteX107" fmla="*/ 501650 w 11499847"/>
              <a:gd name="connsiteY107" fmla="*/ 1403350 h 2403475"/>
              <a:gd name="connsiteX108" fmla="*/ 7349808 w 11499847"/>
              <a:gd name="connsiteY108" fmla="*/ 1012825 h 2403475"/>
              <a:gd name="connsiteX109" fmla="*/ 7218292 w 11499847"/>
              <a:gd name="connsiteY109" fmla="*/ 1067952 h 2403475"/>
              <a:gd name="connsiteX110" fmla="*/ 7164385 w 11499847"/>
              <a:gd name="connsiteY110" fmla="*/ 1202427 h 2403475"/>
              <a:gd name="connsiteX111" fmla="*/ 7218292 w 11499847"/>
              <a:gd name="connsiteY111" fmla="*/ 1336903 h 2403475"/>
              <a:gd name="connsiteX112" fmla="*/ 7349808 w 11499847"/>
              <a:gd name="connsiteY112" fmla="*/ 1392238 h 2403475"/>
              <a:gd name="connsiteX113" fmla="*/ 7481953 w 11499847"/>
              <a:gd name="connsiteY113" fmla="*/ 1337320 h 2403475"/>
              <a:gd name="connsiteX114" fmla="*/ 7535860 w 11499847"/>
              <a:gd name="connsiteY114" fmla="*/ 1202427 h 2403475"/>
              <a:gd name="connsiteX115" fmla="*/ 7481534 w 11499847"/>
              <a:gd name="connsiteY115" fmla="*/ 1067952 h 2403475"/>
              <a:gd name="connsiteX116" fmla="*/ 7349808 w 11499847"/>
              <a:gd name="connsiteY116" fmla="*/ 1012825 h 2403475"/>
              <a:gd name="connsiteX117" fmla="*/ 10448922 w 11499847"/>
              <a:gd name="connsiteY117" fmla="*/ 946150 h 2403475"/>
              <a:gd name="connsiteX118" fmla="*/ 10552110 w 11499847"/>
              <a:gd name="connsiteY118" fmla="*/ 946150 h 2403475"/>
              <a:gd name="connsiteX119" fmla="*/ 10671172 w 11499847"/>
              <a:gd name="connsiteY119" fmla="*/ 1139825 h 2403475"/>
              <a:gd name="connsiteX120" fmla="*/ 10790235 w 11499847"/>
              <a:gd name="connsiteY120" fmla="*/ 1333501 h 2403475"/>
              <a:gd name="connsiteX121" fmla="*/ 10790235 w 11499847"/>
              <a:gd name="connsiteY121" fmla="*/ 946150 h 2403475"/>
              <a:gd name="connsiteX122" fmla="*/ 10869610 w 11499847"/>
              <a:gd name="connsiteY122" fmla="*/ 946150 h 2403475"/>
              <a:gd name="connsiteX123" fmla="*/ 10869610 w 11499847"/>
              <a:gd name="connsiteY123" fmla="*/ 1458913 h 2403475"/>
              <a:gd name="connsiteX124" fmla="*/ 10772772 w 11499847"/>
              <a:gd name="connsiteY124" fmla="*/ 1458913 h 2403475"/>
              <a:gd name="connsiteX125" fmla="*/ 10650535 w 11499847"/>
              <a:gd name="connsiteY125" fmla="*/ 1260475 h 2403475"/>
              <a:gd name="connsiteX126" fmla="*/ 10528297 w 11499847"/>
              <a:gd name="connsiteY126" fmla="*/ 1062038 h 2403475"/>
              <a:gd name="connsiteX127" fmla="*/ 10528297 w 11499847"/>
              <a:gd name="connsiteY127" fmla="*/ 1458913 h 2403475"/>
              <a:gd name="connsiteX128" fmla="*/ 10448922 w 11499847"/>
              <a:gd name="connsiteY128" fmla="*/ 1458913 h 2403475"/>
              <a:gd name="connsiteX129" fmla="*/ 10185397 w 11499847"/>
              <a:gd name="connsiteY129" fmla="*/ 946150 h 2403475"/>
              <a:gd name="connsiteX130" fmla="*/ 10267947 w 11499847"/>
              <a:gd name="connsiteY130" fmla="*/ 946150 h 2403475"/>
              <a:gd name="connsiteX131" fmla="*/ 10267947 w 11499847"/>
              <a:gd name="connsiteY131" fmla="*/ 1458913 h 2403475"/>
              <a:gd name="connsiteX132" fmla="*/ 10185397 w 11499847"/>
              <a:gd name="connsiteY132" fmla="*/ 1458913 h 2403475"/>
              <a:gd name="connsiteX133" fmla="*/ 9656760 w 11499847"/>
              <a:gd name="connsiteY133" fmla="*/ 946150 h 2403475"/>
              <a:gd name="connsiteX134" fmla="*/ 10059985 w 11499847"/>
              <a:gd name="connsiteY134" fmla="*/ 946150 h 2403475"/>
              <a:gd name="connsiteX135" fmla="*/ 10059985 w 11499847"/>
              <a:gd name="connsiteY135" fmla="*/ 1022350 h 2403475"/>
              <a:gd name="connsiteX136" fmla="*/ 9899648 w 11499847"/>
              <a:gd name="connsiteY136" fmla="*/ 1022350 h 2403475"/>
              <a:gd name="connsiteX137" fmla="*/ 9899648 w 11499847"/>
              <a:gd name="connsiteY137" fmla="*/ 1458913 h 2403475"/>
              <a:gd name="connsiteX138" fmla="*/ 9817098 w 11499847"/>
              <a:gd name="connsiteY138" fmla="*/ 1458913 h 2403475"/>
              <a:gd name="connsiteX139" fmla="*/ 9817098 w 11499847"/>
              <a:gd name="connsiteY139" fmla="*/ 1022350 h 2403475"/>
              <a:gd name="connsiteX140" fmla="*/ 9656760 w 11499847"/>
              <a:gd name="connsiteY140" fmla="*/ 1022350 h 2403475"/>
              <a:gd name="connsiteX141" fmla="*/ 9336085 w 11499847"/>
              <a:gd name="connsiteY141" fmla="*/ 946150 h 2403475"/>
              <a:gd name="connsiteX142" fmla="*/ 9418635 w 11499847"/>
              <a:gd name="connsiteY142" fmla="*/ 946150 h 2403475"/>
              <a:gd name="connsiteX143" fmla="*/ 9418635 w 11499847"/>
              <a:gd name="connsiteY143" fmla="*/ 1382713 h 2403475"/>
              <a:gd name="connsiteX144" fmla="*/ 9671048 w 11499847"/>
              <a:gd name="connsiteY144" fmla="*/ 1382713 h 2403475"/>
              <a:gd name="connsiteX145" fmla="*/ 9671048 w 11499847"/>
              <a:gd name="connsiteY145" fmla="*/ 1458913 h 2403475"/>
              <a:gd name="connsiteX146" fmla="*/ 9336085 w 11499847"/>
              <a:gd name="connsiteY146" fmla="*/ 1458913 h 2403475"/>
              <a:gd name="connsiteX147" fmla="*/ 8766172 w 11499847"/>
              <a:gd name="connsiteY147" fmla="*/ 946150 h 2403475"/>
              <a:gd name="connsiteX148" fmla="*/ 8848414 w 11499847"/>
              <a:gd name="connsiteY148" fmla="*/ 946150 h 2403475"/>
              <a:gd name="connsiteX149" fmla="*/ 8848414 w 11499847"/>
              <a:gd name="connsiteY149" fmla="*/ 1260391 h 2403475"/>
              <a:gd name="connsiteX150" fmla="*/ 8883900 w 11499847"/>
              <a:gd name="connsiteY150" fmla="*/ 1355146 h 2403475"/>
              <a:gd name="connsiteX151" fmla="*/ 8978249 w 11499847"/>
              <a:gd name="connsiteY151" fmla="*/ 1393718 h 2403475"/>
              <a:gd name="connsiteX152" fmla="*/ 9071972 w 11499847"/>
              <a:gd name="connsiteY152" fmla="*/ 1355146 h 2403475"/>
              <a:gd name="connsiteX153" fmla="*/ 9107457 w 11499847"/>
              <a:gd name="connsiteY153" fmla="*/ 1260391 h 2403475"/>
              <a:gd name="connsiteX154" fmla="*/ 9107457 w 11499847"/>
              <a:gd name="connsiteY154" fmla="*/ 946150 h 2403475"/>
              <a:gd name="connsiteX155" fmla="*/ 9188447 w 11499847"/>
              <a:gd name="connsiteY155" fmla="*/ 946150 h 2403475"/>
              <a:gd name="connsiteX156" fmla="*/ 9188447 w 11499847"/>
              <a:gd name="connsiteY156" fmla="*/ 1261230 h 2403475"/>
              <a:gd name="connsiteX157" fmla="*/ 9128539 w 11499847"/>
              <a:gd name="connsiteY157" fmla="*/ 1410489 h 2403475"/>
              <a:gd name="connsiteX158" fmla="*/ 8977623 w 11499847"/>
              <a:gd name="connsiteY158" fmla="*/ 1470025 h 2403475"/>
              <a:gd name="connsiteX159" fmla="*/ 8826497 w 11499847"/>
              <a:gd name="connsiteY159" fmla="*/ 1410489 h 2403475"/>
              <a:gd name="connsiteX160" fmla="*/ 8766172 w 11499847"/>
              <a:gd name="connsiteY160" fmla="*/ 1261230 h 2403475"/>
              <a:gd name="connsiteX161" fmla="*/ 8766172 w 11499847"/>
              <a:gd name="connsiteY161" fmla="*/ 946150 h 2403475"/>
              <a:gd name="connsiteX162" fmla="*/ 7737472 w 11499847"/>
              <a:gd name="connsiteY162" fmla="*/ 946150 h 2403475"/>
              <a:gd name="connsiteX163" fmla="*/ 7839072 w 11499847"/>
              <a:gd name="connsiteY163" fmla="*/ 946150 h 2403475"/>
              <a:gd name="connsiteX164" fmla="*/ 7958134 w 11499847"/>
              <a:gd name="connsiteY164" fmla="*/ 1139825 h 2403475"/>
              <a:gd name="connsiteX165" fmla="*/ 8077197 w 11499847"/>
              <a:gd name="connsiteY165" fmla="*/ 1333501 h 2403475"/>
              <a:gd name="connsiteX166" fmla="*/ 8077197 w 11499847"/>
              <a:gd name="connsiteY166" fmla="*/ 946150 h 2403475"/>
              <a:gd name="connsiteX167" fmla="*/ 8156572 w 11499847"/>
              <a:gd name="connsiteY167" fmla="*/ 946150 h 2403475"/>
              <a:gd name="connsiteX168" fmla="*/ 8156572 w 11499847"/>
              <a:gd name="connsiteY168" fmla="*/ 1458913 h 2403475"/>
              <a:gd name="connsiteX169" fmla="*/ 8061322 w 11499847"/>
              <a:gd name="connsiteY169" fmla="*/ 1458913 h 2403475"/>
              <a:gd name="connsiteX170" fmla="*/ 7939084 w 11499847"/>
              <a:gd name="connsiteY170" fmla="*/ 1260475 h 2403475"/>
              <a:gd name="connsiteX171" fmla="*/ 7815259 w 11499847"/>
              <a:gd name="connsiteY171" fmla="*/ 1062038 h 2403475"/>
              <a:gd name="connsiteX172" fmla="*/ 7815259 w 11499847"/>
              <a:gd name="connsiteY172" fmla="*/ 1458913 h 2403475"/>
              <a:gd name="connsiteX173" fmla="*/ 7737472 w 11499847"/>
              <a:gd name="connsiteY173" fmla="*/ 1458913 h 2403475"/>
              <a:gd name="connsiteX174" fmla="*/ 11253544 w 11499847"/>
              <a:gd name="connsiteY174" fmla="*/ 936625 h 2403475"/>
              <a:gd name="connsiteX175" fmla="*/ 11340315 w 11499847"/>
              <a:gd name="connsiteY175" fmla="*/ 948334 h 2403475"/>
              <a:gd name="connsiteX176" fmla="*/ 11414331 w 11499847"/>
              <a:gd name="connsiteY176" fmla="*/ 984090 h 2403475"/>
              <a:gd name="connsiteX177" fmla="*/ 11392795 w 11499847"/>
              <a:gd name="connsiteY177" fmla="*/ 1017545 h 2403475"/>
              <a:gd name="connsiteX178" fmla="*/ 11371260 w 11499847"/>
              <a:gd name="connsiteY178" fmla="*/ 1051209 h 2403475"/>
              <a:gd name="connsiteX179" fmla="*/ 11316270 w 11499847"/>
              <a:gd name="connsiteY179" fmla="*/ 1022354 h 2403475"/>
              <a:gd name="connsiteX180" fmla="*/ 11252917 w 11499847"/>
              <a:gd name="connsiteY180" fmla="*/ 1013363 h 2403475"/>
              <a:gd name="connsiteX181" fmla="*/ 11122657 w 11499847"/>
              <a:gd name="connsiteY181" fmla="*/ 1067936 h 2403475"/>
              <a:gd name="connsiteX182" fmla="*/ 11069549 w 11499847"/>
              <a:gd name="connsiteY182" fmla="*/ 1203221 h 2403475"/>
              <a:gd name="connsiteX183" fmla="*/ 11120984 w 11499847"/>
              <a:gd name="connsiteY183" fmla="*/ 1338923 h 2403475"/>
              <a:gd name="connsiteX184" fmla="*/ 11249990 w 11499847"/>
              <a:gd name="connsiteY184" fmla="*/ 1394124 h 2403475"/>
              <a:gd name="connsiteX185" fmla="*/ 11364360 w 11499847"/>
              <a:gd name="connsiteY185" fmla="*/ 1353350 h 2403475"/>
              <a:gd name="connsiteX186" fmla="*/ 11418095 w 11499847"/>
              <a:gd name="connsiteY186" fmla="*/ 1251521 h 2403475"/>
              <a:gd name="connsiteX187" fmla="*/ 11244136 w 11499847"/>
              <a:gd name="connsiteY187" fmla="*/ 1251521 h 2403475"/>
              <a:gd name="connsiteX188" fmla="*/ 11267971 w 11499847"/>
              <a:gd name="connsiteY188" fmla="*/ 1214303 h 2403475"/>
              <a:gd name="connsiteX189" fmla="*/ 11291598 w 11499847"/>
              <a:gd name="connsiteY189" fmla="*/ 1177084 h 2403475"/>
              <a:gd name="connsiteX190" fmla="*/ 11496083 w 11499847"/>
              <a:gd name="connsiteY190" fmla="*/ 1177084 h 2403475"/>
              <a:gd name="connsiteX191" fmla="*/ 11498802 w 11499847"/>
              <a:gd name="connsiteY191" fmla="*/ 1193393 h 2403475"/>
              <a:gd name="connsiteX192" fmla="*/ 11499847 w 11499847"/>
              <a:gd name="connsiteY192" fmla="*/ 1213466 h 2403475"/>
              <a:gd name="connsiteX193" fmla="*/ 11430222 w 11499847"/>
              <a:gd name="connsiteY193" fmla="*/ 1396215 h 2403475"/>
              <a:gd name="connsiteX194" fmla="*/ 11249154 w 11499847"/>
              <a:gd name="connsiteY194" fmla="*/ 1470025 h 2403475"/>
              <a:gd name="connsiteX195" fmla="*/ 11061813 w 11499847"/>
              <a:gd name="connsiteY195" fmla="*/ 1392242 h 2403475"/>
              <a:gd name="connsiteX196" fmla="*/ 10985497 w 11499847"/>
              <a:gd name="connsiteY196" fmla="*/ 1203221 h 2403475"/>
              <a:gd name="connsiteX197" fmla="*/ 11063695 w 11499847"/>
              <a:gd name="connsiteY197" fmla="*/ 1014408 h 2403475"/>
              <a:gd name="connsiteX198" fmla="*/ 11253544 w 11499847"/>
              <a:gd name="connsiteY198" fmla="*/ 936625 h 2403475"/>
              <a:gd name="connsiteX199" fmla="*/ 8471697 w 11499847"/>
              <a:gd name="connsiteY199" fmla="*/ 936625 h 2403475"/>
              <a:gd name="connsiteX200" fmla="*/ 8556850 w 11499847"/>
              <a:gd name="connsiteY200" fmla="*/ 949798 h 2403475"/>
              <a:gd name="connsiteX201" fmla="*/ 8626729 w 11499847"/>
              <a:gd name="connsiteY201" fmla="*/ 984717 h 2403475"/>
              <a:gd name="connsiteX202" fmla="*/ 8606225 w 11499847"/>
              <a:gd name="connsiteY202" fmla="*/ 1017336 h 2403475"/>
              <a:gd name="connsiteX203" fmla="*/ 8585722 w 11499847"/>
              <a:gd name="connsiteY203" fmla="*/ 1049745 h 2403475"/>
              <a:gd name="connsiteX204" fmla="*/ 8528605 w 11499847"/>
              <a:gd name="connsiteY204" fmla="*/ 1021099 h 2403475"/>
              <a:gd name="connsiteX205" fmla="*/ 8471070 w 11499847"/>
              <a:gd name="connsiteY205" fmla="*/ 1011063 h 2403475"/>
              <a:gd name="connsiteX206" fmla="*/ 8404328 w 11499847"/>
              <a:gd name="connsiteY206" fmla="*/ 1032181 h 2403475"/>
              <a:gd name="connsiteX207" fmla="*/ 8382570 w 11499847"/>
              <a:gd name="connsiteY207" fmla="*/ 1084246 h 2403475"/>
              <a:gd name="connsiteX208" fmla="*/ 8412697 w 11499847"/>
              <a:gd name="connsiteY208" fmla="*/ 1135474 h 2403475"/>
              <a:gd name="connsiteX209" fmla="*/ 8493038 w 11499847"/>
              <a:gd name="connsiteY209" fmla="*/ 1165165 h 2403475"/>
              <a:gd name="connsiteX210" fmla="*/ 8600786 w 11499847"/>
              <a:gd name="connsiteY210" fmla="*/ 1212421 h 2403475"/>
              <a:gd name="connsiteX211" fmla="*/ 8648697 w 11499847"/>
              <a:gd name="connsiteY211" fmla="*/ 1314250 h 2403475"/>
              <a:gd name="connsiteX212" fmla="*/ 8601413 w 11499847"/>
              <a:gd name="connsiteY212" fmla="*/ 1425906 h 2403475"/>
              <a:gd name="connsiteX213" fmla="*/ 8468140 w 11499847"/>
              <a:gd name="connsiteY213" fmla="*/ 1470025 h 2403475"/>
              <a:gd name="connsiteX214" fmla="*/ 8363531 w 11499847"/>
              <a:gd name="connsiteY214" fmla="*/ 1452461 h 2403475"/>
              <a:gd name="connsiteX215" fmla="*/ 8286747 w 11499847"/>
              <a:gd name="connsiteY215" fmla="*/ 1411479 h 2403475"/>
              <a:gd name="connsiteX216" fmla="*/ 8307251 w 11499847"/>
              <a:gd name="connsiteY216" fmla="*/ 1379069 h 2403475"/>
              <a:gd name="connsiteX217" fmla="*/ 8327754 w 11499847"/>
              <a:gd name="connsiteY217" fmla="*/ 1346450 h 2403475"/>
              <a:gd name="connsiteX218" fmla="*/ 8395541 w 11499847"/>
              <a:gd name="connsiteY218" fmla="*/ 1381578 h 2403475"/>
              <a:gd name="connsiteX219" fmla="*/ 8468768 w 11499847"/>
              <a:gd name="connsiteY219" fmla="*/ 1395378 h 2403475"/>
              <a:gd name="connsiteX220" fmla="*/ 8541367 w 11499847"/>
              <a:gd name="connsiteY220" fmla="*/ 1373633 h 2403475"/>
              <a:gd name="connsiteX221" fmla="*/ 8566055 w 11499847"/>
              <a:gd name="connsiteY221" fmla="*/ 1319477 h 2403475"/>
              <a:gd name="connsiteX222" fmla="*/ 8535509 w 11499847"/>
              <a:gd name="connsiteY222" fmla="*/ 1268458 h 2403475"/>
              <a:gd name="connsiteX223" fmla="*/ 8455587 w 11499847"/>
              <a:gd name="connsiteY223" fmla="*/ 1238348 h 2403475"/>
              <a:gd name="connsiteX224" fmla="*/ 8347630 w 11499847"/>
              <a:gd name="connsiteY224" fmla="*/ 1191511 h 2403475"/>
              <a:gd name="connsiteX225" fmla="*/ 8299928 w 11499847"/>
              <a:gd name="connsiteY225" fmla="*/ 1089264 h 2403475"/>
              <a:gd name="connsiteX226" fmla="*/ 8345329 w 11499847"/>
              <a:gd name="connsiteY226" fmla="*/ 979489 h 2403475"/>
              <a:gd name="connsiteX227" fmla="*/ 8471697 w 11499847"/>
              <a:gd name="connsiteY227" fmla="*/ 936625 h 2403475"/>
              <a:gd name="connsiteX228" fmla="*/ 7349808 w 11499847"/>
              <a:gd name="connsiteY228" fmla="*/ 936625 h 2403475"/>
              <a:gd name="connsiteX229" fmla="*/ 7541183 w 11499847"/>
              <a:gd name="connsiteY229" fmla="*/ 1014826 h 2403475"/>
              <a:gd name="connsiteX230" fmla="*/ 7619997 w 11499847"/>
              <a:gd name="connsiteY230" fmla="*/ 1203221 h 2403475"/>
              <a:gd name="connsiteX231" fmla="*/ 7541183 w 11499847"/>
              <a:gd name="connsiteY231" fmla="*/ 1391615 h 2403475"/>
              <a:gd name="connsiteX232" fmla="*/ 7349808 w 11499847"/>
              <a:gd name="connsiteY232" fmla="*/ 1470025 h 2403475"/>
              <a:gd name="connsiteX233" fmla="*/ 7158642 w 11499847"/>
              <a:gd name="connsiteY233" fmla="*/ 1391615 h 2403475"/>
              <a:gd name="connsiteX234" fmla="*/ 7080247 w 11499847"/>
              <a:gd name="connsiteY234" fmla="*/ 1203221 h 2403475"/>
              <a:gd name="connsiteX235" fmla="*/ 7158642 w 11499847"/>
              <a:gd name="connsiteY235" fmla="*/ 1014826 h 2403475"/>
              <a:gd name="connsiteX236" fmla="*/ 7349808 w 11499847"/>
              <a:gd name="connsiteY236" fmla="*/ 936625 h 2403475"/>
              <a:gd name="connsiteX237" fmla="*/ 6837427 w 11499847"/>
              <a:gd name="connsiteY237" fmla="*/ 936625 h 2403475"/>
              <a:gd name="connsiteX238" fmla="*/ 6932756 w 11499847"/>
              <a:gd name="connsiteY238" fmla="*/ 951680 h 2403475"/>
              <a:gd name="connsiteX239" fmla="*/ 7008810 w 11499847"/>
              <a:gd name="connsiteY239" fmla="*/ 993499 h 2403475"/>
              <a:gd name="connsiteX240" fmla="*/ 6987439 w 11499847"/>
              <a:gd name="connsiteY240" fmla="*/ 1026745 h 2403475"/>
              <a:gd name="connsiteX241" fmla="*/ 6966278 w 11499847"/>
              <a:gd name="connsiteY241" fmla="*/ 1059991 h 2403475"/>
              <a:gd name="connsiteX242" fmla="*/ 6904891 w 11499847"/>
              <a:gd name="connsiteY242" fmla="*/ 1024863 h 2403475"/>
              <a:gd name="connsiteX243" fmla="*/ 6833027 w 11499847"/>
              <a:gd name="connsiteY243" fmla="*/ 1012526 h 2403475"/>
              <a:gd name="connsiteX244" fmla="*/ 6703338 w 11499847"/>
              <a:gd name="connsiteY244" fmla="*/ 1067727 h 2403475"/>
              <a:gd name="connsiteX245" fmla="*/ 6649912 w 11499847"/>
              <a:gd name="connsiteY245" fmla="*/ 1203221 h 2403475"/>
              <a:gd name="connsiteX246" fmla="*/ 6703338 w 11499847"/>
              <a:gd name="connsiteY246" fmla="*/ 1338923 h 2403475"/>
              <a:gd name="connsiteX247" fmla="*/ 6833027 w 11499847"/>
              <a:gd name="connsiteY247" fmla="*/ 1393915 h 2403475"/>
              <a:gd name="connsiteX248" fmla="*/ 6904891 w 11499847"/>
              <a:gd name="connsiteY248" fmla="*/ 1381787 h 2403475"/>
              <a:gd name="connsiteX249" fmla="*/ 6966278 w 11499847"/>
              <a:gd name="connsiteY249" fmla="*/ 1346450 h 2403475"/>
              <a:gd name="connsiteX250" fmla="*/ 6987439 w 11499847"/>
              <a:gd name="connsiteY250" fmla="*/ 1379696 h 2403475"/>
              <a:gd name="connsiteX251" fmla="*/ 7008810 w 11499847"/>
              <a:gd name="connsiteY251" fmla="*/ 1412942 h 2403475"/>
              <a:gd name="connsiteX252" fmla="*/ 6932756 w 11499847"/>
              <a:gd name="connsiteY252" fmla="*/ 1454970 h 2403475"/>
              <a:gd name="connsiteX253" fmla="*/ 6837427 w 11499847"/>
              <a:gd name="connsiteY253" fmla="*/ 1470025 h 2403475"/>
              <a:gd name="connsiteX254" fmla="*/ 6644674 w 11499847"/>
              <a:gd name="connsiteY254" fmla="*/ 1392242 h 2403475"/>
              <a:gd name="connsiteX255" fmla="*/ 6565897 w 11499847"/>
              <a:gd name="connsiteY255" fmla="*/ 1203221 h 2403475"/>
              <a:gd name="connsiteX256" fmla="*/ 6644674 w 11499847"/>
              <a:gd name="connsiteY256" fmla="*/ 1014408 h 2403475"/>
              <a:gd name="connsiteX257" fmla="*/ 6837427 w 11499847"/>
              <a:gd name="connsiteY257" fmla="*/ 936625 h 2403475"/>
              <a:gd name="connsiteX258" fmla="*/ 501650 w 11499847"/>
              <a:gd name="connsiteY258" fmla="*/ 477838 h 2403475"/>
              <a:gd name="connsiteX259" fmla="*/ 501650 w 11499847"/>
              <a:gd name="connsiteY259" fmla="*/ 981076 h 2403475"/>
              <a:gd name="connsiteX260" fmla="*/ 786010 w 11499847"/>
              <a:gd name="connsiteY260" fmla="*/ 981076 h 2403475"/>
              <a:gd name="connsiteX261" fmla="*/ 1070579 w 11499847"/>
              <a:gd name="connsiteY261" fmla="*/ 981076 h 2403475"/>
              <a:gd name="connsiteX262" fmla="*/ 1253188 w 11499847"/>
              <a:gd name="connsiteY262" fmla="*/ 908588 h 2403475"/>
              <a:gd name="connsiteX263" fmla="*/ 1327150 w 11499847"/>
              <a:gd name="connsiteY263" fmla="*/ 727681 h 2403475"/>
              <a:gd name="connsiteX264" fmla="*/ 1253188 w 11499847"/>
              <a:gd name="connsiteY264" fmla="*/ 548446 h 2403475"/>
              <a:gd name="connsiteX265" fmla="*/ 1070579 w 11499847"/>
              <a:gd name="connsiteY265" fmla="*/ 477838 h 2403475"/>
              <a:gd name="connsiteX266" fmla="*/ 501650 w 11499847"/>
              <a:gd name="connsiteY266" fmla="*/ 477838 h 2403475"/>
              <a:gd name="connsiteX267" fmla="*/ 6675435 w 11499847"/>
              <a:gd name="connsiteY267" fmla="*/ 336550 h 2403475"/>
              <a:gd name="connsiteX268" fmla="*/ 6675435 w 11499847"/>
              <a:gd name="connsiteY268" fmla="*/ 487363 h 2403475"/>
              <a:gd name="connsiteX269" fmla="*/ 6808467 w 11499847"/>
              <a:gd name="connsiteY269" fmla="*/ 487363 h 2403475"/>
              <a:gd name="connsiteX270" fmla="*/ 6865570 w 11499847"/>
              <a:gd name="connsiteY270" fmla="*/ 465370 h 2403475"/>
              <a:gd name="connsiteX271" fmla="*/ 6888160 w 11499847"/>
              <a:gd name="connsiteY271" fmla="*/ 411957 h 2403475"/>
              <a:gd name="connsiteX272" fmla="*/ 6865570 w 11499847"/>
              <a:gd name="connsiteY272" fmla="*/ 358334 h 2403475"/>
              <a:gd name="connsiteX273" fmla="*/ 6808467 w 11499847"/>
              <a:gd name="connsiteY273" fmla="*/ 336550 h 2403475"/>
              <a:gd name="connsiteX274" fmla="*/ 6675435 w 11499847"/>
              <a:gd name="connsiteY274" fmla="*/ 336550 h 2403475"/>
              <a:gd name="connsiteX275" fmla="*/ 6675435 w 11499847"/>
              <a:gd name="connsiteY275" fmla="*/ 122238 h 2403475"/>
              <a:gd name="connsiteX276" fmla="*/ 6675435 w 11499847"/>
              <a:gd name="connsiteY276" fmla="*/ 265113 h 2403475"/>
              <a:gd name="connsiteX277" fmla="*/ 6795279 w 11499847"/>
              <a:gd name="connsiteY277" fmla="*/ 265113 h 2403475"/>
              <a:gd name="connsiteX278" fmla="*/ 6848404 w 11499847"/>
              <a:gd name="connsiteY278" fmla="*/ 244673 h 2403475"/>
              <a:gd name="connsiteX279" fmla="*/ 6869110 w 11499847"/>
              <a:gd name="connsiteY279" fmla="*/ 193571 h 2403475"/>
              <a:gd name="connsiteX280" fmla="*/ 6848404 w 11499847"/>
              <a:gd name="connsiteY280" fmla="*/ 142679 h 2403475"/>
              <a:gd name="connsiteX281" fmla="*/ 6795279 w 11499847"/>
              <a:gd name="connsiteY281" fmla="*/ 122238 h 2403475"/>
              <a:gd name="connsiteX282" fmla="*/ 6675435 w 11499847"/>
              <a:gd name="connsiteY282" fmla="*/ 122238 h 2403475"/>
              <a:gd name="connsiteX283" fmla="*/ 8850791 w 11499847"/>
              <a:gd name="connsiteY283" fmla="*/ 114300 h 2403475"/>
              <a:gd name="connsiteX284" fmla="*/ 8719837 w 11499847"/>
              <a:gd name="connsiteY284" fmla="*/ 169657 h 2403475"/>
              <a:gd name="connsiteX285" fmla="*/ 8666160 w 11499847"/>
              <a:gd name="connsiteY285" fmla="*/ 304905 h 2403475"/>
              <a:gd name="connsiteX286" fmla="*/ 8719837 w 11499847"/>
              <a:gd name="connsiteY286" fmla="*/ 439943 h 2403475"/>
              <a:gd name="connsiteX287" fmla="*/ 8850791 w 11499847"/>
              <a:gd name="connsiteY287" fmla="*/ 495300 h 2403475"/>
              <a:gd name="connsiteX288" fmla="*/ 8982163 w 11499847"/>
              <a:gd name="connsiteY288" fmla="*/ 440153 h 2403475"/>
              <a:gd name="connsiteX289" fmla="*/ 9036048 w 11499847"/>
              <a:gd name="connsiteY289" fmla="*/ 304905 h 2403475"/>
              <a:gd name="connsiteX290" fmla="*/ 8981954 w 11499847"/>
              <a:gd name="connsiteY290" fmla="*/ 169657 h 2403475"/>
              <a:gd name="connsiteX291" fmla="*/ 8850791 w 11499847"/>
              <a:gd name="connsiteY291" fmla="*/ 114300 h 2403475"/>
              <a:gd name="connsiteX292" fmla="*/ 7335415 w 11499847"/>
              <a:gd name="connsiteY292" fmla="*/ 114300 h 2403475"/>
              <a:gd name="connsiteX293" fmla="*/ 7203974 w 11499847"/>
              <a:gd name="connsiteY293" fmla="*/ 169657 h 2403475"/>
              <a:gd name="connsiteX294" fmla="*/ 7150097 w 11499847"/>
              <a:gd name="connsiteY294" fmla="*/ 304905 h 2403475"/>
              <a:gd name="connsiteX295" fmla="*/ 7203974 w 11499847"/>
              <a:gd name="connsiteY295" fmla="*/ 439943 h 2403475"/>
              <a:gd name="connsiteX296" fmla="*/ 7335415 w 11499847"/>
              <a:gd name="connsiteY296" fmla="*/ 495300 h 2403475"/>
              <a:gd name="connsiteX297" fmla="*/ 7467486 w 11499847"/>
              <a:gd name="connsiteY297" fmla="*/ 440153 h 2403475"/>
              <a:gd name="connsiteX298" fmla="*/ 7521572 w 11499847"/>
              <a:gd name="connsiteY298" fmla="*/ 304905 h 2403475"/>
              <a:gd name="connsiteX299" fmla="*/ 7467067 w 11499847"/>
              <a:gd name="connsiteY299" fmla="*/ 169657 h 2403475"/>
              <a:gd name="connsiteX300" fmla="*/ 7335415 w 11499847"/>
              <a:gd name="connsiteY300" fmla="*/ 114300 h 2403475"/>
              <a:gd name="connsiteX301" fmla="*/ 9237660 w 11499847"/>
              <a:gd name="connsiteY301" fmla="*/ 49213 h 2403475"/>
              <a:gd name="connsiteX302" fmla="*/ 9339260 w 11499847"/>
              <a:gd name="connsiteY302" fmla="*/ 49213 h 2403475"/>
              <a:gd name="connsiteX303" fmla="*/ 9458322 w 11499847"/>
              <a:gd name="connsiteY303" fmla="*/ 242888 h 2403475"/>
              <a:gd name="connsiteX304" fmla="*/ 9578972 w 11499847"/>
              <a:gd name="connsiteY304" fmla="*/ 436563 h 2403475"/>
              <a:gd name="connsiteX305" fmla="*/ 9578972 w 11499847"/>
              <a:gd name="connsiteY305" fmla="*/ 49213 h 2403475"/>
              <a:gd name="connsiteX306" fmla="*/ 9656760 w 11499847"/>
              <a:gd name="connsiteY306" fmla="*/ 49213 h 2403475"/>
              <a:gd name="connsiteX307" fmla="*/ 9656760 w 11499847"/>
              <a:gd name="connsiteY307" fmla="*/ 560388 h 2403475"/>
              <a:gd name="connsiteX308" fmla="*/ 9561510 w 11499847"/>
              <a:gd name="connsiteY308" fmla="*/ 560388 h 2403475"/>
              <a:gd name="connsiteX309" fmla="*/ 9439272 w 11499847"/>
              <a:gd name="connsiteY309" fmla="*/ 363538 h 2403475"/>
              <a:gd name="connsiteX310" fmla="*/ 9317035 w 11499847"/>
              <a:gd name="connsiteY310" fmla="*/ 165101 h 2403475"/>
              <a:gd name="connsiteX311" fmla="*/ 9317035 w 11499847"/>
              <a:gd name="connsiteY311" fmla="*/ 560388 h 2403475"/>
              <a:gd name="connsiteX312" fmla="*/ 9237660 w 11499847"/>
              <a:gd name="connsiteY312" fmla="*/ 560388 h 2403475"/>
              <a:gd name="connsiteX313" fmla="*/ 8126410 w 11499847"/>
              <a:gd name="connsiteY313" fmla="*/ 49213 h 2403475"/>
              <a:gd name="connsiteX314" fmla="*/ 8529635 w 11499847"/>
              <a:gd name="connsiteY314" fmla="*/ 49213 h 2403475"/>
              <a:gd name="connsiteX315" fmla="*/ 8529635 w 11499847"/>
              <a:gd name="connsiteY315" fmla="*/ 125413 h 2403475"/>
              <a:gd name="connsiteX316" fmla="*/ 8369298 w 11499847"/>
              <a:gd name="connsiteY316" fmla="*/ 125413 h 2403475"/>
              <a:gd name="connsiteX317" fmla="*/ 8369298 w 11499847"/>
              <a:gd name="connsiteY317" fmla="*/ 560388 h 2403475"/>
              <a:gd name="connsiteX318" fmla="*/ 8285160 w 11499847"/>
              <a:gd name="connsiteY318" fmla="*/ 560388 h 2403475"/>
              <a:gd name="connsiteX319" fmla="*/ 8285160 w 11499847"/>
              <a:gd name="connsiteY319" fmla="*/ 125413 h 2403475"/>
              <a:gd name="connsiteX320" fmla="*/ 8126410 w 11499847"/>
              <a:gd name="connsiteY320" fmla="*/ 125413 h 2403475"/>
              <a:gd name="connsiteX321" fmla="*/ 6592885 w 11499847"/>
              <a:gd name="connsiteY321" fmla="*/ 49213 h 2403475"/>
              <a:gd name="connsiteX322" fmla="*/ 6795851 w 11499847"/>
              <a:gd name="connsiteY322" fmla="*/ 49213 h 2403475"/>
              <a:gd name="connsiteX323" fmla="*/ 6907775 w 11499847"/>
              <a:gd name="connsiteY323" fmla="*/ 87875 h 2403475"/>
              <a:gd name="connsiteX324" fmla="*/ 6952670 w 11499847"/>
              <a:gd name="connsiteY324" fmla="*/ 185680 h 2403475"/>
              <a:gd name="connsiteX325" fmla="*/ 6936382 w 11499847"/>
              <a:gd name="connsiteY325" fmla="*/ 245658 h 2403475"/>
              <a:gd name="connsiteX326" fmla="*/ 6892114 w 11499847"/>
              <a:gd name="connsiteY326" fmla="*/ 288709 h 2403475"/>
              <a:gd name="connsiteX327" fmla="*/ 6950791 w 11499847"/>
              <a:gd name="connsiteY327" fmla="*/ 339492 h 2403475"/>
              <a:gd name="connsiteX328" fmla="*/ 6972298 w 11499847"/>
              <a:gd name="connsiteY328" fmla="*/ 412845 h 2403475"/>
              <a:gd name="connsiteX329" fmla="*/ 6926359 w 11499847"/>
              <a:gd name="connsiteY329" fmla="*/ 517546 h 2403475"/>
              <a:gd name="connsiteX330" fmla="*/ 6808798 w 11499847"/>
              <a:gd name="connsiteY330" fmla="*/ 560388 h 2403475"/>
              <a:gd name="connsiteX331" fmla="*/ 6592885 w 11499847"/>
              <a:gd name="connsiteY331" fmla="*/ 560388 h 2403475"/>
              <a:gd name="connsiteX332" fmla="*/ 6592885 w 11499847"/>
              <a:gd name="connsiteY332" fmla="*/ 49213 h 2403475"/>
              <a:gd name="connsiteX333" fmla="*/ 8850790 w 11499847"/>
              <a:gd name="connsiteY333" fmla="*/ 38100 h 2403475"/>
              <a:gd name="connsiteX334" fmla="*/ 9041603 w 11499847"/>
              <a:gd name="connsiteY334" fmla="*/ 116301 h 2403475"/>
              <a:gd name="connsiteX335" fmla="*/ 9120185 w 11499847"/>
              <a:gd name="connsiteY335" fmla="*/ 304905 h 2403475"/>
              <a:gd name="connsiteX336" fmla="*/ 9041603 w 11499847"/>
              <a:gd name="connsiteY336" fmla="*/ 493090 h 2403475"/>
              <a:gd name="connsiteX337" fmla="*/ 8850790 w 11499847"/>
              <a:gd name="connsiteY337" fmla="*/ 571500 h 2403475"/>
              <a:gd name="connsiteX338" fmla="*/ 8660186 w 11499847"/>
              <a:gd name="connsiteY338" fmla="*/ 493090 h 2403475"/>
              <a:gd name="connsiteX339" fmla="*/ 8582022 w 11499847"/>
              <a:gd name="connsiteY339" fmla="*/ 304905 h 2403475"/>
              <a:gd name="connsiteX340" fmla="*/ 8660186 w 11499847"/>
              <a:gd name="connsiteY340" fmla="*/ 116301 h 2403475"/>
              <a:gd name="connsiteX341" fmla="*/ 8850790 w 11499847"/>
              <a:gd name="connsiteY341" fmla="*/ 38100 h 2403475"/>
              <a:gd name="connsiteX342" fmla="*/ 7870035 w 11499847"/>
              <a:gd name="connsiteY342" fmla="*/ 38100 h 2403475"/>
              <a:gd name="connsiteX343" fmla="*/ 7871499 w 11499847"/>
              <a:gd name="connsiteY343" fmla="*/ 38100 h 2403475"/>
              <a:gd name="connsiteX344" fmla="*/ 7955187 w 11499847"/>
              <a:gd name="connsiteY344" fmla="*/ 51273 h 2403475"/>
              <a:gd name="connsiteX345" fmla="*/ 8025067 w 11499847"/>
              <a:gd name="connsiteY345" fmla="*/ 86401 h 2403475"/>
              <a:gd name="connsiteX346" fmla="*/ 8004563 w 11499847"/>
              <a:gd name="connsiteY346" fmla="*/ 118811 h 2403475"/>
              <a:gd name="connsiteX347" fmla="*/ 7984060 w 11499847"/>
              <a:gd name="connsiteY347" fmla="*/ 151429 h 2403475"/>
              <a:gd name="connsiteX348" fmla="*/ 7926943 w 11499847"/>
              <a:gd name="connsiteY348" fmla="*/ 122574 h 2403475"/>
              <a:gd name="connsiteX349" fmla="*/ 7869198 w 11499847"/>
              <a:gd name="connsiteY349" fmla="*/ 112538 h 2403475"/>
              <a:gd name="connsiteX350" fmla="*/ 7802666 w 11499847"/>
              <a:gd name="connsiteY350" fmla="*/ 133865 h 2403475"/>
              <a:gd name="connsiteX351" fmla="*/ 7780907 w 11499847"/>
              <a:gd name="connsiteY351" fmla="*/ 185721 h 2403475"/>
              <a:gd name="connsiteX352" fmla="*/ 7811035 w 11499847"/>
              <a:gd name="connsiteY352" fmla="*/ 236949 h 2403475"/>
              <a:gd name="connsiteX353" fmla="*/ 7891166 w 11499847"/>
              <a:gd name="connsiteY353" fmla="*/ 266849 h 2403475"/>
              <a:gd name="connsiteX354" fmla="*/ 7998914 w 11499847"/>
              <a:gd name="connsiteY354" fmla="*/ 313896 h 2403475"/>
              <a:gd name="connsiteX355" fmla="*/ 8047035 w 11499847"/>
              <a:gd name="connsiteY355" fmla="*/ 415934 h 2403475"/>
              <a:gd name="connsiteX356" fmla="*/ 7999751 w 11499847"/>
              <a:gd name="connsiteY356" fmla="*/ 527381 h 2403475"/>
              <a:gd name="connsiteX357" fmla="*/ 7866478 w 11499847"/>
              <a:gd name="connsiteY357" fmla="*/ 571500 h 2403475"/>
              <a:gd name="connsiteX358" fmla="*/ 7761659 w 11499847"/>
              <a:gd name="connsiteY358" fmla="*/ 554145 h 2403475"/>
              <a:gd name="connsiteX359" fmla="*/ 7685085 w 11499847"/>
              <a:gd name="connsiteY359" fmla="*/ 512954 h 2403475"/>
              <a:gd name="connsiteX360" fmla="*/ 7725883 w 11499847"/>
              <a:gd name="connsiteY360" fmla="*/ 447925 h 2403475"/>
              <a:gd name="connsiteX361" fmla="*/ 7793879 w 11499847"/>
              <a:gd name="connsiteY361" fmla="*/ 483053 h 2403475"/>
              <a:gd name="connsiteX362" fmla="*/ 7867106 w 11499847"/>
              <a:gd name="connsiteY362" fmla="*/ 497063 h 2403475"/>
              <a:gd name="connsiteX363" fmla="*/ 7939496 w 11499847"/>
              <a:gd name="connsiteY363" fmla="*/ 475108 h 2403475"/>
              <a:gd name="connsiteX364" fmla="*/ 7964393 w 11499847"/>
              <a:gd name="connsiteY364" fmla="*/ 420952 h 2403475"/>
              <a:gd name="connsiteX365" fmla="*/ 7933847 w 11499847"/>
              <a:gd name="connsiteY365" fmla="*/ 369933 h 2403475"/>
              <a:gd name="connsiteX366" fmla="*/ 7853925 w 11499847"/>
              <a:gd name="connsiteY366" fmla="*/ 339823 h 2403475"/>
              <a:gd name="connsiteX367" fmla="*/ 7745968 w 11499847"/>
              <a:gd name="connsiteY367" fmla="*/ 292986 h 2403475"/>
              <a:gd name="connsiteX368" fmla="*/ 7698266 w 11499847"/>
              <a:gd name="connsiteY368" fmla="*/ 190739 h 2403475"/>
              <a:gd name="connsiteX369" fmla="*/ 7743666 w 11499847"/>
              <a:gd name="connsiteY369" fmla="*/ 80964 h 2403475"/>
              <a:gd name="connsiteX370" fmla="*/ 7870035 w 11499847"/>
              <a:gd name="connsiteY370" fmla="*/ 38100 h 2403475"/>
              <a:gd name="connsiteX371" fmla="*/ 7334624 w 11499847"/>
              <a:gd name="connsiteY371" fmla="*/ 38100 h 2403475"/>
              <a:gd name="connsiteX372" fmla="*/ 7525363 w 11499847"/>
              <a:gd name="connsiteY372" fmla="*/ 116301 h 2403475"/>
              <a:gd name="connsiteX373" fmla="*/ 7604123 w 11499847"/>
              <a:gd name="connsiteY373" fmla="*/ 304905 h 2403475"/>
              <a:gd name="connsiteX374" fmla="*/ 7525363 w 11499847"/>
              <a:gd name="connsiteY374" fmla="*/ 493090 h 2403475"/>
              <a:gd name="connsiteX375" fmla="*/ 7334624 w 11499847"/>
              <a:gd name="connsiteY375" fmla="*/ 571500 h 2403475"/>
              <a:gd name="connsiteX376" fmla="*/ 7144094 w 11499847"/>
              <a:gd name="connsiteY376" fmla="*/ 493090 h 2403475"/>
              <a:gd name="connsiteX377" fmla="*/ 7065960 w 11499847"/>
              <a:gd name="connsiteY377" fmla="*/ 304905 h 2403475"/>
              <a:gd name="connsiteX378" fmla="*/ 7144094 w 11499847"/>
              <a:gd name="connsiteY378" fmla="*/ 116301 h 2403475"/>
              <a:gd name="connsiteX379" fmla="*/ 7334624 w 11499847"/>
              <a:gd name="connsiteY379" fmla="*/ 38100 h 2403475"/>
              <a:gd name="connsiteX380" fmla="*/ 2766077 w 11499847"/>
              <a:gd name="connsiteY380" fmla="*/ 0 h 2403475"/>
              <a:gd name="connsiteX381" fmla="*/ 3146531 w 11499847"/>
              <a:gd name="connsiteY381" fmla="*/ 51449 h 2403475"/>
              <a:gd name="connsiteX382" fmla="*/ 3467375 w 11499847"/>
              <a:gd name="connsiteY382" fmla="*/ 204124 h 2403475"/>
              <a:gd name="connsiteX383" fmla="*/ 3340627 w 11499847"/>
              <a:gd name="connsiteY383" fmla="*/ 403228 h 2403475"/>
              <a:gd name="connsiteX384" fmla="*/ 3213880 w 11499847"/>
              <a:gd name="connsiteY384" fmla="*/ 602542 h 2403475"/>
              <a:gd name="connsiteX385" fmla="*/ 3009743 w 11499847"/>
              <a:gd name="connsiteY385" fmla="*/ 496716 h 2403475"/>
              <a:gd name="connsiteX386" fmla="*/ 2766077 w 11499847"/>
              <a:gd name="connsiteY386" fmla="*/ 457606 h 2403475"/>
              <a:gd name="connsiteX387" fmla="*/ 2232314 w 11499847"/>
              <a:gd name="connsiteY387" fmla="*/ 681180 h 2403475"/>
              <a:gd name="connsiteX388" fmla="*/ 2012073 w 11499847"/>
              <a:gd name="connsiteY388" fmla="*/ 1198391 h 2403475"/>
              <a:gd name="connsiteX389" fmla="*/ 2232314 w 11499847"/>
              <a:gd name="connsiteY389" fmla="*/ 1721250 h 2403475"/>
              <a:gd name="connsiteX390" fmla="*/ 2766077 w 11499847"/>
              <a:gd name="connsiteY390" fmla="*/ 1942732 h 2403475"/>
              <a:gd name="connsiteX391" fmla="*/ 3050111 w 11499847"/>
              <a:gd name="connsiteY391" fmla="*/ 1886682 h 2403475"/>
              <a:gd name="connsiteX392" fmla="*/ 3289594 w 11499847"/>
              <a:gd name="connsiteY392" fmla="*/ 1722086 h 2403475"/>
              <a:gd name="connsiteX393" fmla="*/ 3543925 w 11499847"/>
              <a:gd name="connsiteY393" fmla="*/ 1095493 h 2403475"/>
              <a:gd name="connsiteX394" fmla="*/ 3921866 w 11499847"/>
              <a:gd name="connsiteY394" fmla="*/ 345714 h 2403475"/>
              <a:gd name="connsiteX395" fmla="*/ 4300646 w 11499847"/>
              <a:gd name="connsiteY395" fmla="*/ 92441 h 2403475"/>
              <a:gd name="connsiteX396" fmla="*/ 4787977 w 11499847"/>
              <a:gd name="connsiteY396" fmla="*/ 0 h 2403475"/>
              <a:gd name="connsiteX397" fmla="*/ 5168221 w 11499847"/>
              <a:gd name="connsiteY397" fmla="*/ 54796 h 2403475"/>
              <a:gd name="connsiteX398" fmla="*/ 5489275 w 11499847"/>
              <a:gd name="connsiteY398" fmla="*/ 210607 h 2403475"/>
              <a:gd name="connsiteX399" fmla="*/ 5364200 w 11499847"/>
              <a:gd name="connsiteY399" fmla="*/ 409921 h 2403475"/>
              <a:gd name="connsiteX400" fmla="*/ 5239125 w 11499847"/>
              <a:gd name="connsiteY400" fmla="*/ 609025 h 2403475"/>
              <a:gd name="connsiteX401" fmla="*/ 5031643 w 11499847"/>
              <a:gd name="connsiteY401" fmla="*/ 500480 h 2403475"/>
              <a:gd name="connsiteX402" fmla="*/ 4784631 w 11499847"/>
              <a:gd name="connsiteY402" fmla="*/ 460952 h 2403475"/>
              <a:gd name="connsiteX403" fmla="*/ 4264462 w 11499847"/>
              <a:gd name="connsiteY403" fmla="*/ 679089 h 2403475"/>
              <a:gd name="connsiteX404" fmla="*/ 4050287 w 11499847"/>
              <a:gd name="connsiteY404" fmla="*/ 1198391 h 2403475"/>
              <a:gd name="connsiteX405" fmla="*/ 4262370 w 11499847"/>
              <a:gd name="connsiteY405" fmla="*/ 1725223 h 2403475"/>
              <a:gd name="connsiteX406" fmla="*/ 4778147 w 11499847"/>
              <a:gd name="connsiteY406" fmla="*/ 1945870 h 2403475"/>
              <a:gd name="connsiteX407" fmla="*/ 5191438 w 11499847"/>
              <a:gd name="connsiteY407" fmla="*/ 1804280 h 2403475"/>
              <a:gd name="connsiteX408" fmla="*/ 5426737 w 11499847"/>
              <a:gd name="connsiteY408" fmla="*/ 1445390 h 2403475"/>
              <a:gd name="connsiteX409" fmla="*/ 4708917 w 11499847"/>
              <a:gd name="connsiteY409" fmla="*/ 1445390 h 2403475"/>
              <a:gd name="connsiteX410" fmla="*/ 4850515 w 11499847"/>
              <a:gd name="connsiteY410" fmla="*/ 1223279 h 2403475"/>
              <a:gd name="connsiteX411" fmla="*/ 4992113 w 11499847"/>
              <a:gd name="connsiteY411" fmla="*/ 1000960 h 2403475"/>
              <a:gd name="connsiteX412" fmla="*/ 5457901 w 11499847"/>
              <a:gd name="connsiteY412" fmla="*/ 1000960 h 2403475"/>
              <a:gd name="connsiteX413" fmla="*/ 5924108 w 11499847"/>
              <a:gd name="connsiteY413" fmla="*/ 1000960 h 2403475"/>
              <a:gd name="connsiteX414" fmla="*/ 5936030 w 11499847"/>
              <a:gd name="connsiteY414" fmla="*/ 1100094 h 2403475"/>
              <a:gd name="connsiteX415" fmla="*/ 5940422 w 11499847"/>
              <a:gd name="connsiteY415" fmla="*/ 1201738 h 2403475"/>
              <a:gd name="connsiteX416" fmla="*/ 5600963 w 11499847"/>
              <a:gd name="connsiteY416" fmla="*/ 2050860 h 2403475"/>
              <a:gd name="connsiteX417" fmla="*/ 4764970 w 11499847"/>
              <a:gd name="connsiteY417" fmla="*/ 2403475 h 2403475"/>
              <a:gd name="connsiteX418" fmla="*/ 4178290 w 11499847"/>
              <a:gd name="connsiteY418" fmla="*/ 2262513 h 2403475"/>
              <a:gd name="connsiteX419" fmla="*/ 3757265 w 11499847"/>
              <a:gd name="connsiteY419" fmla="*/ 1886682 h 2403475"/>
              <a:gd name="connsiteX420" fmla="*/ 3332469 w 11499847"/>
              <a:gd name="connsiteY420" fmla="*/ 2263558 h 2403475"/>
              <a:gd name="connsiteX421" fmla="*/ 2749555 w 11499847"/>
              <a:gd name="connsiteY421" fmla="*/ 2403475 h 2403475"/>
              <a:gd name="connsiteX422" fmla="*/ 2242563 w 11499847"/>
              <a:gd name="connsiteY422" fmla="*/ 2295766 h 2403475"/>
              <a:gd name="connsiteX423" fmla="*/ 1844121 w 11499847"/>
              <a:gd name="connsiteY423" fmla="*/ 2005266 h 2403475"/>
              <a:gd name="connsiteX424" fmla="*/ 1583096 w 11499847"/>
              <a:gd name="connsiteY424" fmla="*/ 2257493 h 2403475"/>
              <a:gd name="connsiteX425" fmla="*/ 1188838 w 11499847"/>
              <a:gd name="connsiteY425" fmla="*/ 2354117 h 2403475"/>
              <a:gd name="connsiteX426" fmla="*/ 0 w 11499847"/>
              <a:gd name="connsiteY426" fmla="*/ 2354117 h 2403475"/>
              <a:gd name="connsiteX427" fmla="*/ 0 w 11499847"/>
              <a:gd name="connsiteY427" fmla="*/ 1201738 h 2403475"/>
              <a:gd name="connsiteX428" fmla="*/ 0 w 11499847"/>
              <a:gd name="connsiteY428" fmla="*/ 49358 h 2403475"/>
              <a:gd name="connsiteX429" fmla="*/ 538575 w 11499847"/>
              <a:gd name="connsiteY429" fmla="*/ 49358 h 2403475"/>
              <a:gd name="connsiteX430" fmla="*/ 1076940 w 11499847"/>
              <a:gd name="connsiteY430" fmla="*/ 49358 h 2403475"/>
              <a:gd name="connsiteX431" fmla="*/ 1523487 w 11499847"/>
              <a:gd name="connsiteY431" fmla="*/ 176099 h 2403475"/>
              <a:gd name="connsiteX432" fmla="*/ 1774892 w 11499847"/>
              <a:gd name="connsiteY432" fmla="*/ 500480 h 2403475"/>
              <a:gd name="connsiteX433" fmla="*/ 2196549 w 11499847"/>
              <a:gd name="connsiteY433" fmla="*/ 137826 h 2403475"/>
              <a:gd name="connsiteX434" fmla="*/ 2766077 w 11499847"/>
              <a:gd name="connsiteY434" fmla="*/ 0 h 2403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</a:cxnLst>
            <a:rect l="l" t="t" r="r" b="b"/>
            <a:pathLst>
              <a:path w="11499847" h="2403475">
                <a:moveTo>
                  <a:pt x="8982072" y="1919288"/>
                </a:moveTo>
                <a:cubicBezTo>
                  <a:pt x="8982072" y="2105026"/>
                  <a:pt x="8982072" y="2105026"/>
                  <a:pt x="8982072" y="2105026"/>
                </a:cubicBezTo>
                <a:cubicBezTo>
                  <a:pt x="9098233" y="2105026"/>
                  <a:pt x="9098233" y="2105026"/>
                  <a:pt x="9098233" y="2105026"/>
                </a:cubicBezTo>
                <a:cubicBezTo>
                  <a:pt x="9124975" y="2105026"/>
                  <a:pt x="9148166" y="2096202"/>
                  <a:pt x="9164880" y="2080233"/>
                </a:cubicBezTo>
                <a:cubicBezTo>
                  <a:pt x="9181594" y="2064055"/>
                  <a:pt x="9191622" y="2040732"/>
                  <a:pt x="9191622" y="2011737"/>
                </a:cubicBezTo>
                <a:cubicBezTo>
                  <a:pt x="9191622" y="1983792"/>
                  <a:pt x="9181594" y="1960680"/>
                  <a:pt x="9164880" y="1944501"/>
                </a:cubicBezTo>
                <a:cubicBezTo>
                  <a:pt x="9148166" y="1928323"/>
                  <a:pt x="9124975" y="1919288"/>
                  <a:pt x="9098233" y="1919288"/>
                </a:cubicBezTo>
                <a:cubicBezTo>
                  <a:pt x="8982072" y="1919288"/>
                  <a:pt x="8982072" y="1919288"/>
                  <a:pt x="8982072" y="1919288"/>
                </a:cubicBezTo>
                <a:close/>
                <a:moveTo>
                  <a:pt x="7280272" y="1919288"/>
                </a:moveTo>
                <a:cubicBezTo>
                  <a:pt x="7280272" y="2097088"/>
                  <a:pt x="7280272" y="2097088"/>
                  <a:pt x="7280272" y="2097088"/>
                </a:cubicBezTo>
                <a:cubicBezTo>
                  <a:pt x="7404503" y="2097088"/>
                  <a:pt x="7404503" y="2097088"/>
                  <a:pt x="7404503" y="2097088"/>
                </a:cubicBezTo>
                <a:cubicBezTo>
                  <a:pt x="7430689" y="2097088"/>
                  <a:pt x="7453105" y="2088711"/>
                  <a:pt x="7469027" y="2073423"/>
                </a:cubicBezTo>
                <a:cubicBezTo>
                  <a:pt x="7485158" y="2058136"/>
                  <a:pt x="7494585" y="2035937"/>
                  <a:pt x="7494585" y="2008502"/>
                </a:cubicBezTo>
                <a:cubicBezTo>
                  <a:pt x="7494585" y="1981487"/>
                  <a:pt x="7485158" y="1959078"/>
                  <a:pt x="7469027" y="1943581"/>
                </a:cubicBezTo>
                <a:cubicBezTo>
                  <a:pt x="7453105" y="1927874"/>
                  <a:pt x="7430689" y="1919288"/>
                  <a:pt x="7404503" y="1919288"/>
                </a:cubicBezTo>
                <a:cubicBezTo>
                  <a:pt x="7280272" y="1919288"/>
                  <a:pt x="7280272" y="1919288"/>
                  <a:pt x="7280272" y="1919288"/>
                </a:cubicBezTo>
                <a:close/>
                <a:moveTo>
                  <a:pt x="7945015" y="1909763"/>
                </a:moveTo>
                <a:cubicBezTo>
                  <a:pt x="7893445" y="1909763"/>
                  <a:pt x="7847115" y="1930941"/>
                  <a:pt x="7813574" y="1965330"/>
                </a:cubicBezTo>
                <a:cubicBezTo>
                  <a:pt x="7780242" y="1999719"/>
                  <a:pt x="7759697" y="2047317"/>
                  <a:pt x="7759697" y="2100368"/>
                </a:cubicBezTo>
                <a:cubicBezTo>
                  <a:pt x="7759697" y="2153419"/>
                  <a:pt x="7780242" y="2201227"/>
                  <a:pt x="7813574" y="2235406"/>
                </a:cubicBezTo>
                <a:cubicBezTo>
                  <a:pt x="7847115" y="2269795"/>
                  <a:pt x="7893445" y="2290763"/>
                  <a:pt x="7945015" y="2290763"/>
                </a:cubicBezTo>
                <a:cubicBezTo>
                  <a:pt x="7997215" y="2290763"/>
                  <a:pt x="8043544" y="2270004"/>
                  <a:pt x="8077086" y="2235825"/>
                </a:cubicBezTo>
                <a:cubicBezTo>
                  <a:pt x="8110628" y="2201437"/>
                  <a:pt x="8131172" y="2153838"/>
                  <a:pt x="8131172" y="2100368"/>
                </a:cubicBezTo>
                <a:cubicBezTo>
                  <a:pt x="8131172" y="2047317"/>
                  <a:pt x="8110418" y="1999719"/>
                  <a:pt x="8076876" y="1965330"/>
                </a:cubicBezTo>
                <a:cubicBezTo>
                  <a:pt x="8043334" y="1930941"/>
                  <a:pt x="7996796" y="1909763"/>
                  <a:pt x="7945015" y="1909763"/>
                </a:cubicBezTo>
                <a:close/>
                <a:moveTo>
                  <a:pt x="8899522" y="1844675"/>
                </a:moveTo>
                <a:cubicBezTo>
                  <a:pt x="9098598" y="1844675"/>
                  <a:pt x="9098598" y="1844675"/>
                  <a:pt x="9098598" y="1844675"/>
                </a:cubicBezTo>
                <a:cubicBezTo>
                  <a:pt x="9152872" y="1844675"/>
                  <a:pt x="9197507" y="1862857"/>
                  <a:pt x="9228521" y="1892741"/>
                </a:cubicBezTo>
                <a:cubicBezTo>
                  <a:pt x="9259744" y="1922835"/>
                  <a:pt x="9277347" y="1964423"/>
                  <a:pt x="9277347" y="2011236"/>
                </a:cubicBezTo>
                <a:cubicBezTo>
                  <a:pt x="9277347" y="2057839"/>
                  <a:pt x="9259744" y="2099427"/>
                  <a:pt x="9228521" y="2129521"/>
                </a:cubicBezTo>
                <a:cubicBezTo>
                  <a:pt x="9197507" y="2159405"/>
                  <a:pt x="9152872" y="2177796"/>
                  <a:pt x="9098598" y="2177796"/>
                </a:cubicBezTo>
                <a:cubicBezTo>
                  <a:pt x="8982086" y="2177796"/>
                  <a:pt x="8982086" y="2177796"/>
                  <a:pt x="8982086" y="2177796"/>
                </a:cubicBezTo>
                <a:cubicBezTo>
                  <a:pt x="8982086" y="2355850"/>
                  <a:pt x="8982086" y="2355850"/>
                  <a:pt x="8982086" y="2355850"/>
                </a:cubicBezTo>
                <a:cubicBezTo>
                  <a:pt x="8899522" y="2355850"/>
                  <a:pt x="8899522" y="2355850"/>
                  <a:pt x="8899522" y="2355850"/>
                </a:cubicBezTo>
                <a:cubicBezTo>
                  <a:pt x="8899522" y="1844675"/>
                  <a:pt x="8899522" y="1844675"/>
                  <a:pt x="8899522" y="1844675"/>
                </a:cubicBezTo>
                <a:close/>
                <a:moveTo>
                  <a:pt x="8324847" y="1844675"/>
                </a:moveTo>
                <a:cubicBezTo>
                  <a:pt x="8407608" y="1844675"/>
                  <a:pt x="8407608" y="1844675"/>
                  <a:pt x="8407608" y="1844675"/>
                </a:cubicBezTo>
                <a:cubicBezTo>
                  <a:pt x="8407608" y="2158090"/>
                  <a:pt x="8407608" y="2158090"/>
                  <a:pt x="8407608" y="2158090"/>
                </a:cubicBezTo>
                <a:cubicBezTo>
                  <a:pt x="8407608" y="2195307"/>
                  <a:pt x="8420389" y="2228551"/>
                  <a:pt x="8443017" y="2252595"/>
                </a:cubicBezTo>
                <a:cubicBezTo>
                  <a:pt x="8465855" y="2276431"/>
                  <a:pt x="8498331" y="2291066"/>
                  <a:pt x="8537931" y="2291066"/>
                </a:cubicBezTo>
                <a:cubicBezTo>
                  <a:pt x="8576692" y="2291066"/>
                  <a:pt x="8609168" y="2276431"/>
                  <a:pt x="8631797" y="2252595"/>
                </a:cubicBezTo>
                <a:cubicBezTo>
                  <a:pt x="8654425" y="2228551"/>
                  <a:pt x="8667415" y="2195307"/>
                  <a:pt x="8667415" y="2158090"/>
                </a:cubicBezTo>
                <a:cubicBezTo>
                  <a:pt x="8667415" y="1844675"/>
                  <a:pt x="8667415" y="1844675"/>
                  <a:pt x="8667415" y="1844675"/>
                </a:cubicBezTo>
                <a:cubicBezTo>
                  <a:pt x="8748710" y="1844675"/>
                  <a:pt x="8748710" y="1844675"/>
                  <a:pt x="8748710" y="1844675"/>
                </a:cubicBezTo>
                <a:cubicBezTo>
                  <a:pt x="8748710" y="2158717"/>
                  <a:pt x="8748710" y="2158717"/>
                  <a:pt x="8748710" y="2158717"/>
                </a:cubicBezTo>
                <a:cubicBezTo>
                  <a:pt x="8748710" y="2218724"/>
                  <a:pt x="8726291" y="2270785"/>
                  <a:pt x="8688577" y="2307793"/>
                </a:cubicBezTo>
                <a:cubicBezTo>
                  <a:pt x="8650863" y="2345010"/>
                  <a:pt x="8597854" y="2366963"/>
                  <a:pt x="8537093" y="2366963"/>
                </a:cubicBezTo>
                <a:cubicBezTo>
                  <a:pt x="8476331" y="2366963"/>
                  <a:pt x="8423322" y="2345010"/>
                  <a:pt x="8385399" y="2307793"/>
                </a:cubicBezTo>
                <a:cubicBezTo>
                  <a:pt x="8347475" y="2270785"/>
                  <a:pt x="8324847" y="2218724"/>
                  <a:pt x="8324847" y="2158717"/>
                </a:cubicBezTo>
                <a:cubicBezTo>
                  <a:pt x="8324847" y="1844675"/>
                  <a:pt x="8324847" y="1844675"/>
                  <a:pt x="8324847" y="1844675"/>
                </a:cubicBezTo>
                <a:close/>
                <a:moveTo>
                  <a:pt x="7197722" y="1844675"/>
                </a:moveTo>
                <a:cubicBezTo>
                  <a:pt x="7404196" y="1844675"/>
                  <a:pt x="7404196" y="1844675"/>
                  <a:pt x="7404196" y="1844675"/>
                </a:cubicBezTo>
                <a:cubicBezTo>
                  <a:pt x="7457641" y="1844675"/>
                  <a:pt x="7501065" y="1862439"/>
                  <a:pt x="7531336" y="1891906"/>
                </a:cubicBezTo>
                <a:cubicBezTo>
                  <a:pt x="7561608" y="1921581"/>
                  <a:pt x="7578727" y="1962542"/>
                  <a:pt x="7578727" y="2008937"/>
                </a:cubicBezTo>
                <a:cubicBezTo>
                  <a:pt x="7578727" y="2047390"/>
                  <a:pt x="7568080" y="2080827"/>
                  <a:pt x="7548455" y="2106950"/>
                </a:cubicBezTo>
                <a:cubicBezTo>
                  <a:pt x="7529040" y="2133073"/>
                  <a:pt x="7500647" y="2152091"/>
                  <a:pt x="7464947" y="2161495"/>
                </a:cubicBezTo>
                <a:cubicBezTo>
                  <a:pt x="7525699" y="2258673"/>
                  <a:pt x="7525699" y="2258673"/>
                  <a:pt x="7525699" y="2258673"/>
                </a:cubicBezTo>
                <a:cubicBezTo>
                  <a:pt x="7586660" y="2355850"/>
                  <a:pt x="7586660" y="2355850"/>
                  <a:pt x="7586660" y="2355850"/>
                </a:cubicBezTo>
                <a:cubicBezTo>
                  <a:pt x="7491044" y="2355850"/>
                  <a:pt x="7491044" y="2355850"/>
                  <a:pt x="7491044" y="2355850"/>
                </a:cubicBezTo>
                <a:cubicBezTo>
                  <a:pt x="7434676" y="2263479"/>
                  <a:pt x="7434676" y="2263479"/>
                  <a:pt x="7434676" y="2263479"/>
                </a:cubicBezTo>
                <a:cubicBezTo>
                  <a:pt x="7378099" y="2171108"/>
                  <a:pt x="7378099" y="2171108"/>
                  <a:pt x="7378099" y="2171108"/>
                </a:cubicBezTo>
                <a:cubicBezTo>
                  <a:pt x="7280395" y="2171108"/>
                  <a:pt x="7280395" y="2171108"/>
                  <a:pt x="7280395" y="2171108"/>
                </a:cubicBezTo>
                <a:cubicBezTo>
                  <a:pt x="7280395" y="2355850"/>
                  <a:pt x="7280395" y="2355850"/>
                  <a:pt x="7280395" y="2355850"/>
                </a:cubicBezTo>
                <a:cubicBezTo>
                  <a:pt x="7197722" y="2355850"/>
                  <a:pt x="7197722" y="2355850"/>
                  <a:pt x="7197722" y="2355850"/>
                </a:cubicBezTo>
                <a:cubicBezTo>
                  <a:pt x="7197722" y="1844675"/>
                  <a:pt x="7197722" y="1844675"/>
                  <a:pt x="7197722" y="1844675"/>
                </a:cubicBezTo>
                <a:close/>
                <a:moveTo>
                  <a:pt x="7945016" y="1833563"/>
                </a:moveTo>
                <a:cubicBezTo>
                  <a:pt x="8020028" y="1833563"/>
                  <a:pt x="8087706" y="1863673"/>
                  <a:pt x="8136527" y="1911974"/>
                </a:cubicBezTo>
                <a:cubicBezTo>
                  <a:pt x="8185138" y="1960274"/>
                  <a:pt x="8215310" y="2026976"/>
                  <a:pt x="8215310" y="2100368"/>
                </a:cubicBezTo>
                <a:cubicBezTo>
                  <a:pt x="8215310" y="2173760"/>
                  <a:pt x="8185138" y="2240461"/>
                  <a:pt x="8136527" y="2288762"/>
                </a:cubicBezTo>
                <a:cubicBezTo>
                  <a:pt x="8087706" y="2337063"/>
                  <a:pt x="8020028" y="2366963"/>
                  <a:pt x="7945016" y="2366963"/>
                </a:cubicBezTo>
                <a:cubicBezTo>
                  <a:pt x="7870004" y="2366963"/>
                  <a:pt x="7802745" y="2337063"/>
                  <a:pt x="7754134" y="2288762"/>
                </a:cubicBezTo>
                <a:cubicBezTo>
                  <a:pt x="7705523" y="2240461"/>
                  <a:pt x="7675560" y="2173760"/>
                  <a:pt x="7675560" y="2100368"/>
                </a:cubicBezTo>
                <a:cubicBezTo>
                  <a:pt x="7675560" y="2026976"/>
                  <a:pt x="7705523" y="1960274"/>
                  <a:pt x="7754134" y="1911974"/>
                </a:cubicBezTo>
                <a:cubicBezTo>
                  <a:pt x="7802745" y="1863673"/>
                  <a:pt x="7870004" y="1833563"/>
                  <a:pt x="7945016" y="1833563"/>
                </a:cubicBezTo>
                <a:close/>
                <a:moveTo>
                  <a:pt x="6834872" y="1833563"/>
                </a:moveTo>
                <a:cubicBezTo>
                  <a:pt x="6865690" y="1833563"/>
                  <a:pt x="6894831" y="1837536"/>
                  <a:pt x="6921875" y="1845482"/>
                </a:cubicBezTo>
                <a:cubicBezTo>
                  <a:pt x="6948919" y="1853218"/>
                  <a:pt x="6973658" y="1865136"/>
                  <a:pt x="6996090" y="1881028"/>
                </a:cubicBezTo>
                <a:cubicBezTo>
                  <a:pt x="6974496" y="1914692"/>
                  <a:pt x="6974496" y="1914692"/>
                  <a:pt x="6974496" y="1914692"/>
                </a:cubicBezTo>
                <a:cubicBezTo>
                  <a:pt x="6952903" y="1948356"/>
                  <a:pt x="6952903" y="1948356"/>
                  <a:pt x="6952903" y="1948356"/>
                </a:cubicBezTo>
                <a:cubicBezTo>
                  <a:pt x="6935712" y="1935183"/>
                  <a:pt x="6917263" y="1925774"/>
                  <a:pt x="6897556" y="1919501"/>
                </a:cubicBezTo>
                <a:cubicBezTo>
                  <a:pt x="6877850" y="1913228"/>
                  <a:pt x="6856885" y="1910301"/>
                  <a:pt x="6834243" y="1910301"/>
                </a:cubicBezTo>
                <a:cubicBezTo>
                  <a:pt x="6782461" y="1910301"/>
                  <a:pt x="6736548" y="1931001"/>
                  <a:pt x="6703424" y="1965084"/>
                </a:cubicBezTo>
                <a:cubicBezTo>
                  <a:pt x="6670510" y="1999166"/>
                  <a:pt x="6650384" y="2046631"/>
                  <a:pt x="6650384" y="2100368"/>
                </a:cubicBezTo>
                <a:cubicBezTo>
                  <a:pt x="6650384" y="2154105"/>
                  <a:pt x="6669671" y="2201779"/>
                  <a:pt x="6701957" y="2236070"/>
                </a:cubicBezTo>
                <a:cubicBezTo>
                  <a:pt x="6734242" y="2270152"/>
                  <a:pt x="6779526" y="2291062"/>
                  <a:pt x="6831308" y="2291062"/>
                </a:cubicBezTo>
                <a:cubicBezTo>
                  <a:pt x="6878898" y="2291062"/>
                  <a:pt x="6917473" y="2275798"/>
                  <a:pt x="6945984" y="2250498"/>
                </a:cubicBezTo>
                <a:cubicBezTo>
                  <a:pt x="6974496" y="2225197"/>
                  <a:pt x="6992735" y="2189442"/>
                  <a:pt x="6999863" y="2148460"/>
                </a:cubicBezTo>
                <a:cubicBezTo>
                  <a:pt x="6825438" y="2148460"/>
                  <a:pt x="6825438" y="2148460"/>
                  <a:pt x="6825438" y="2148460"/>
                </a:cubicBezTo>
                <a:cubicBezTo>
                  <a:pt x="6849128" y="2111241"/>
                  <a:pt x="6849128" y="2111241"/>
                  <a:pt x="6849128" y="2111241"/>
                </a:cubicBezTo>
                <a:cubicBezTo>
                  <a:pt x="6873028" y="2074022"/>
                  <a:pt x="6873028" y="2074022"/>
                  <a:pt x="6873028" y="2074022"/>
                </a:cubicBezTo>
                <a:cubicBezTo>
                  <a:pt x="7078061" y="2074022"/>
                  <a:pt x="7078061" y="2074022"/>
                  <a:pt x="7078061" y="2074022"/>
                </a:cubicBezTo>
                <a:cubicBezTo>
                  <a:pt x="7079319" y="2078204"/>
                  <a:pt x="7080158" y="2083849"/>
                  <a:pt x="7080787" y="2090540"/>
                </a:cubicBezTo>
                <a:cubicBezTo>
                  <a:pt x="7081415" y="2096813"/>
                  <a:pt x="7081835" y="2103922"/>
                  <a:pt x="7081835" y="2110613"/>
                </a:cubicBezTo>
                <a:cubicBezTo>
                  <a:pt x="7081835" y="2183378"/>
                  <a:pt x="7056258" y="2247361"/>
                  <a:pt x="7011813" y="2293362"/>
                </a:cubicBezTo>
                <a:cubicBezTo>
                  <a:pt x="6967788" y="2339363"/>
                  <a:pt x="6904894" y="2366963"/>
                  <a:pt x="6830470" y="2366963"/>
                </a:cubicBezTo>
                <a:cubicBezTo>
                  <a:pt x="6756255" y="2366963"/>
                  <a:pt x="6690007" y="2337481"/>
                  <a:pt x="6642417" y="2289389"/>
                </a:cubicBezTo>
                <a:cubicBezTo>
                  <a:pt x="6595037" y="2241088"/>
                  <a:pt x="6565897" y="2174387"/>
                  <a:pt x="6565897" y="2100368"/>
                </a:cubicBezTo>
                <a:cubicBezTo>
                  <a:pt x="6565897" y="2026139"/>
                  <a:pt x="6595876" y="1959438"/>
                  <a:pt x="6644514" y="1911346"/>
                </a:cubicBezTo>
                <a:cubicBezTo>
                  <a:pt x="6692942" y="1863255"/>
                  <a:pt x="6760238" y="1833563"/>
                  <a:pt x="6834872" y="1833563"/>
                </a:cubicBezTo>
                <a:close/>
                <a:moveTo>
                  <a:pt x="501650" y="1403350"/>
                </a:moveTo>
                <a:cubicBezTo>
                  <a:pt x="501650" y="1403350"/>
                  <a:pt x="501650" y="1403350"/>
                  <a:pt x="501650" y="1925638"/>
                </a:cubicBezTo>
                <a:cubicBezTo>
                  <a:pt x="501650" y="1925638"/>
                  <a:pt x="501650" y="1925638"/>
                  <a:pt x="842112" y="1925638"/>
                </a:cubicBezTo>
                <a:cubicBezTo>
                  <a:pt x="842112" y="1925638"/>
                  <a:pt x="842112" y="1925638"/>
                  <a:pt x="1182574" y="1925638"/>
                </a:cubicBezTo>
                <a:cubicBezTo>
                  <a:pt x="1258233" y="1925638"/>
                  <a:pt x="1326576" y="1896842"/>
                  <a:pt x="1375900" y="1849684"/>
                </a:cubicBezTo>
                <a:cubicBezTo>
                  <a:pt x="1425224" y="1802317"/>
                  <a:pt x="1455738" y="1736796"/>
                  <a:pt x="1455738" y="1662720"/>
                </a:cubicBezTo>
                <a:cubicBezTo>
                  <a:pt x="1455738" y="1588853"/>
                  <a:pt x="1425224" y="1523958"/>
                  <a:pt x="1375900" y="1477635"/>
                </a:cubicBezTo>
                <a:cubicBezTo>
                  <a:pt x="1326576" y="1431103"/>
                  <a:pt x="1258233" y="1403350"/>
                  <a:pt x="1182574" y="1403350"/>
                </a:cubicBezTo>
                <a:cubicBezTo>
                  <a:pt x="1182574" y="1403350"/>
                  <a:pt x="1182574" y="1403350"/>
                  <a:pt x="501650" y="1403350"/>
                </a:cubicBezTo>
                <a:close/>
                <a:moveTo>
                  <a:pt x="7349808" y="1012825"/>
                </a:moveTo>
                <a:cubicBezTo>
                  <a:pt x="7297999" y="1012825"/>
                  <a:pt x="7251643" y="1033706"/>
                  <a:pt x="7218292" y="1067952"/>
                </a:cubicBezTo>
                <a:cubicBezTo>
                  <a:pt x="7184731" y="1102197"/>
                  <a:pt x="7164385" y="1149598"/>
                  <a:pt x="7164385" y="1202427"/>
                </a:cubicBezTo>
                <a:cubicBezTo>
                  <a:pt x="7164385" y="1255466"/>
                  <a:pt x="7184731" y="1302866"/>
                  <a:pt x="7218292" y="1336903"/>
                </a:cubicBezTo>
                <a:cubicBezTo>
                  <a:pt x="7251643" y="1371148"/>
                  <a:pt x="7297999" y="1392238"/>
                  <a:pt x="7349808" y="1392238"/>
                </a:cubicBezTo>
                <a:cubicBezTo>
                  <a:pt x="7401827" y="1392238"/>
                  <a:pt x="7448393" y="1371357"/>
                  <a:pt x="7481953" y="1337320"/>
                </a:cubicBezTo>
                <a:cubicBezTo>
                  <a:pt x="7515304" y="1303075"/>
                  <a:pt x="7535860" y="1255675"/>
                  <a:pt x="7535860" y="1202427"/>
                </a:cubicBezTo>
                <a:cubicBezTo>
                  <a:pt x="7535860" y="1149598"/>
                  <a:pt x="7515304" y="1102197"/>
                  <a:pt x="7481534" y="1067952"/>
                </a:cubicBezTo>
                <a:cubicBezTo>
                  <a:pt x="7447973" y="1033706"/>
                  <a:pt x="7401408" y="1012825"/>
                  <a:pt x="7349808" y="1012825"/>
                </a:cubicBezTo>
                <a:close/>
                <a:moveTo>
                  <a:pt x="10448922" y="946150"/>
                </a:moveTo>
                <a:lnTo>
                  <a:pt x="10552110" y="946150"/>
                </a:lnTo>
                <a:lnTo>
                  <a:pt x="10671172" y="1139825"/>
                </a:lnTo>
                <a:lnTo>
                  <a:pt x="10790235" y="1333501"/>
                </a:lnTo>
                <a:lnTo>
                  <a:pt x="10790235" y="946150"/>
                </a:lnTo>
                <a:lnTo>
                  <a:pt x="10869610" y="946150"/>
                </a:lnTo>
                <a:lnTo>
                  <a:pt x="10869610" y="1458913"/>
                </a:lnTo>
                <a:lnTo>
                  <a:pt x="10772772" y="1458913"/>
                </a:lnTo>
                <a:lnTo>
                  <a:pt x="10650535" y="1260475"/>
                </a:lnTo>
                <a:lnTo>
                  <a:pt x="10528297" y="1062038"/>
                </a:lnTo>
                <a:lnTo>
                  <a:pt x="10528297" y="1458913"/>
                </a:lnTo>
                <a:lnTo>
                  <a:pt x="10448922" y="1458913"/>
                </a:lnTo>
                <a:close/>
                <a:moveTo>
                  <a:pt x="10185397" y="946150"/>
                </a:moveTo>
                <a:lnTo>
                  <a:pt x="10267947" y="946150"/>
                </a:lnTo>
                <a:lnTo>
                  <a:pt x="10267947" y="1458913"/>
                </a:lnTo>
                <a:lnTo>
                  <a:pt x="10185397" y="1458913"/>
                </a:lnTo>
                <a:close/>
                <a:moveTo>
                  <a:pt x="9656760" y="946150"/>
                </a:moveTo>
                <a:lnTo>
                  <a:pt x="10059985" y="946150"/>
                </a:lnTo>
                <a:lnTo>
                  <a:pt x="10059985" y="1022350"/>
                </a:lnTo>
                <a:lnTo>
                  <a:pt x="9899648" y="1022350"/>
                </a:lnTo>
                <a:lnTo>
                  <a:pt x="9899648" y="1458913"/>
                </a:lnTo>
                <a:lnTo>
                  <a:pt x="9817098" y="1458913"/>
                </a:lnTo>
                <a:lnTo>
                  <a:pt x="9817098" y="1022350"/>
                </a:lnTo>
                <a:lnTo>
                  <a:pt x="9656760" y="1022350"/>
                </a:lnTo>
                <a:close/>
                <a:moveTo>
                  <a:pt x="9336085" y="946150"/>
                </a:moveTo>
                <a:lnTo>
                  <a:pt x="9418635" y="946150"/>
                </a:lnTo>
                <a:lnTo>
                  <a:pt x="9418635" y="1382713"/>
                </a:lnTo>
                <a:lnTo>
                  <a:pt x="9671048" y="1382713"/>
                </a:lnTo>
                <a:lnTo>
                  <a:pt x="9671048" y="1458913"/>
                </a:lnTo>
                <a:lnTo>
                  <a:pt x="9336085" y="1458913"/>
                </a:lnTo>
                <a:close/>
                <a:moveTo>
                  <a:pt x="8766172" y="946150"/>
                </a:moveTo>
                <a:cubicBezTo>
                  <a:pt x="8848414" y="946150"/>
                  <a:pt x="8848414" y="946150"/>
                  <a:pt x="8848414" y="946150"/>
                </a:cubicBezTo>
                <a:cubicBezTo>
                  <a:pt x="8848414" y="1260391"/>
                  <a:pt x="8848414" y="1260391"/>
                  <a:pt x="8848414" y="1260391"/>
                </a:cubicBezTo>
                <a:cubicBezTo>
                  <a:pt x="8848414" y="1297706"/>
                  <a:pt x="8861356" y="1331038"/>
                  <a:pt x="8883900" y="1355146"/>
                </a:cubicBezTo>
                <a:cubicBezTo>
                  <a:pt x="8906443" y="1379044"/>
                  <a:pt x="8939006" y="1393718"/>
                  <a:pt x="8978249" y="1393718"/>
                </a:cubicBezTo>
                <a:cubicBezTo>
                  <a:pt x="9017074" y="1393718"/>
                  <a:pt x="9049219" y="1379044"/>
                  <a:pt x="9071972" y="1355146"/>
                </a:cubicBezTo>
                <a:cubicBezTo>
                  <a:pt x="9094515" y="1331038"/>
                  <a:pt x="9107457" y="1297706"/>
                  <a:pt x="9107457" y="1260391"/>
                </a:cubicBezTo>
                <a:cubicBezTo>
                  <a:pt x="9107457" y="946150"/>
                  <a:pt x="9107457" y="946150"/>
                  <a:pt x="9107457" y="946150"/>
                </a:cubicBezTo>
                <a:cubicBezTo>
                  <a:pt x="9188447" y="946150"/>
                  <a:pt x="9188447" y="946150"/>
                  <a:pt x="9188447" y="946150"/>
                </a:cubicBezTo>
                <a:cubicBezTo>
                  <a:pt x="9188447" y="1261230"/>
                  <a:pt x="9188447" y="1261230"/>
                  <a:pt x="9188447" y="1261230"/>
                </a:cubicBezTo>
                <a:cubicBezTo>
                  <a:pt x="9188447" y="1321185"/>
                  <a:pt x="9166112" y="1373384"/>
                  <a:pt x="9128539" y="1410489"/>
                </a:cubicBezTo>
                <a:cubicBezTo>
                  <a:pt x="9090758" y="1447804"/>
                  <a:pt x="9038156" y="1470025"/>
                  <a:pt x="8977623" y="1470025"/>
                </a:cubicBezTo>
                <a:cubicBezTo>
                  <a:pt x="8917089" y="1470025"/>
                  <a:pt x="8864278" y="1447804"/>
                  <a:pt x="8826497" y="1410489"/>
                </a:cubicBezTo>
                <a:cubicBezTo>
                  <a:pt x="8788716" y="1373384"/>
                  <a:pt x="8766172" y="1321185"/>
                  <a:pt x="8766172" y="1261230"/>
                </a:cubicBezTo>
                <a:cubicBezTo>
                  <a:pt x="8766172" y="946150"/>
                  <a:pt x="8766172" y="946150"/>
                  <a:pt x="8766172" y="946150"/>
                </a:cubicBezTo>
                <a:close/>
                <a:moveTo>
                  <a:pt x="7737472" y="946150"/>
                </a:moveTo>
                <a:lnTo>
                  <a:pt x="7839072" y="946150"/>
                </a:lnTo>
                <a:lnTo>
                  <a:pt x="7958134" y="1139825"/>
                </a:lnTo>
                <a:lnTo>
                  <a:pt x="8077197" y="1333501"/>
                </a:lnTo>
                <a:lnTo>
                  <a:pt x="8077197" y="946150"/>
                </a:lnTo>
                <a:lnTo>
                  <a:pt x="8156572" y="946150"/>
                </a:lnTo>
                <a:lnTo>
                  <a:pt x="8156572" y="1458913"/>
                </a:lnTo>
                <a:lnTo>
                  <a:pt x="8061322" y="1458913"/>
                </a:lnTo>
                <a:lnTo>
                  <a:pt x="7939084" y="1260475"/>
                </a:lnTo>
                <a:lnTo>
                  <a:pt x="7815259" y="1062038"/>
                </a:lnTo>
                <a:lnTo>
                  <a:pt x="7815259" y="1458913"/>
                </a:lnTo>
                <a:lnTo>
                  <a:pt x="7737472" y="1458913"/>
                </a:lnTo>
                <a:close/>
                <a:moveTo>
                  <a:pt x="11253544" y="936625"/>
                </a:moveTo>
                <a:cubicBezTo>
                  <a:pt x="11284280" y="936625"/>
                  <a:pt x="11313343" y="940389"/>
                  <a:pt x="11340315" y="948334"/>
                </a:cubicBezTo>
                <a:cubicBezTo>
                  <a:pt x="11367287" y="956071"/>
                  <a:pt x="11391959" y="967989"/>
                  <a:pt x="11414331" y="984090"/>
                </a:cubicBezTo>
                <a:cubicBezTo>
                  <a:pt x="11392795" y="1017545"/>
                  <a:pt x="11392795" y="1017545"/>
                  <a:pt x="11392795" y="1017545"/>
                </a:cubicBezTo>
                <a:cubicBezTo>
                  <a:pt x="11371260" y="1051209"/>
                  <a:pt x="11371260" y="1051209"/>
                  <a:pt x="11371260" y="1051209"/>
                </a:cubicBezTo>
                <a:cubicBezTo>
                  <a:pt x="11354114" y="1038036"/>
                  <a:pt x="11335715" y="1028627"/>
                  <a:pt x="11316270" y="1022354"/>
                </a:cubicBezTo>
                <a:cubicBezTo>
                  <a:pt x="11296616" y="1016290"/>
                  <a:pt x="11275498" y="1013363"/>
                  <a:pt x="11252917" y="1013363"/>
                </a:cubicBezTo>
                <a:cubicBezTo>
                  <a:pt x="11201273" y="1013363"/>
                  <a:pt x="11155483" y="1034063"/>
                  <a:pt x="11122657" y="1067936"/>
                </a:cubicBezTo>
                <a:cubicBezTo>
                  <a:pt x="11089622" y="1102019"/>
                  <a:pt x="11069549" y="1149692"/>
                  <a:pt x="11069549" y="1203221"/>
                </a:cubicBezTo>
                <a:cubicBezTo>
                  <a:pt x="11069549" y="1256958"/>
                  <a:pt x="11088785" y="1304631"/>
                  <a:pt x="11120984" y="1338923"/>
                </a:cubicBezTo>
                <a:cubicBezTo>
                  <a:pt x="11153393" y="1373214"/>
                  <a:pt x="11198346" y="1394124"/>
                  <a:pt x="11249990" y="1394124"/>
                </a:cubicBezTo>
                <a:cubicBezTo>
                  <a:pt x="11297452" y="1394124"/>
                  <a:pt x="11335924" y="1378860"/>
                  <a:pt x="11364360" y="1353350"/>
                </a:cubicBezTo>
                <a:cubicBezTo>
                  <a:pt x="11392795" y="1328050"/>
                  <a:pt x="11410986" y="1292295"/>
                  <a:pt x="11418095" y="1251521"/>
                </a:cubicBezTo>
                <a:cubicBezTo>
                  <a:pt x="11244136" y="1251521"/>
                  <a:pt x="11244136" y="1251521"/>
                  <a:pt x="11244136" y="1251521"/>
                </a:cubicBezTo>
                <a:cubicBezTo>
                  <a:pt x="11267971" y="1214303"/>
                  <a:pt x="11267971" y="1214303"/>
                  <a:pt x="11267971" y="1214303"/>
                </a:cubicBezTo>
                <a:cubicBezTo>
                  <a:pt x="11291598" y="1177084"/>
                  <a:pt x="11291598" y="1177084"/>
                  <a:pt x="11291598" y="1177084"/>
                </a:cubicBezTo>
                <a:cubicBezTo>
                  <a:pt x="11496083" y="1177084"/>
                  <a:pt x="11496083" y="1177084"/>
                  <a:pt x="11496083" y="1177084"/>
                </a:cubicBezTo>
                <a:cubicBezTo>
                  <a:pt x="11497338" y="1181057"/>
                  <a:pt x="11498174" y="1186911"/>
                  <a:pt x="11498802" y="1193393"/>
                </a:cubicBezTo>
                <a:cubicBezTo>
                  <a:pt x="11499429" y="1199875"/>
                  <a:pt x="11499847" y="1206984"/>
                  <a:pt x="11499847" y="1213466"/>
                </a:cubicBezTo>
                <a:cubicBezTo>
                  <a:pt x="11499847" y="1286231"/>
                  <a:pt x="11474339" y="1350214"/>
                  <a:pt x="11430222" y="1396215"/>
                </a:cubicBezTo>
                <a:cubicBezTo>
                  <a:pt x="11386105" y="1442216"/>
                  <a:pt x="11323379" y="1470025"/>
                  <a:pt x="11249154" y="1470025"/>
                </a:cubicBezTo>
                <a:cubicBezTo>
                  <a:pt x="11175137" y="1470025"/>
                  <a:pt x="11109066" y="1440334"/>
                  <a:pt x="11061813" y="1392242"/>
                </a:cubicBezTo>
                <a:cubicBezTo>
                  <a:pt x="11014351" y="1344150"/>
                  <a:pt x="10985497" y="1277449"/>
                  <a:pt x="10985497" y="1203221"/>
                </a:cubicBezTo>
                <a:cubicBezTo>
                  <a:pt x="10985497" y="1129201"/>
                  <a:pt x="11015187" y="1062500"/>
                  <a:pt x="11063695" y="1014408"/>
                </a:cubicBezTo>
                <a:cubicBezTo>
                  <a:pt x="11111994" y="966317"/>
                  <a:pt x="11179110" y="936625"/>
                  <a:pt x="11253544" y="936625"/>
                </a:cubicBezTo>
                <a:close/>
                <a:moveTo>
                  <a:pt x="8471697" y="936625"/>
                </a:moveTo>
                <a:cubicBezTo>
                  <a:pt x="8502452" y="936625"/>
                  <a:pt x="8530906" y="941434"/>
                  <a:pt x="8556850" y="949798"/>
                </a:cubicBezTo>
                <a:cubicBezTo>
                  <a:pt x="8582793" y="958162"/>
                  <a:pt x="8606225" y="970080"/>
                  <a:pt x="8626729" y="984717"/>
                </a:cubicBezTo>
                <a:cubicBezTo>
                  <a:pt x="8626729" y="984717"/>
                  <a:pt x="8626729" y="984717"/>
                  <a:pt x="8606225" y="1017336"/>
                </a:cubicBezTo>
                <a:cubicBezTo>
                  <a:pt x="8606225" y="1017336"/>
                  <a:pt x="8606225" y="1017336"/>
                  <a:pt x="8585722" y="1049745"/>
                </a:cubicBezTo>
                <a:cubicBezTo>
                  <a:pt x="8566474" y="1037409"/>
                  <a:pt x="8547644" y="1027581"/>
                  <a:pt x="8528605" y="1021099"/>
                </a:cubicBezTo>
                <a:cubicBezTo>
                  <a:pt x="8509775" y="1014617"/>
                  <a:pt x="8490736" y="1011063"/>
                  <a:pt x="8471070" y="1011063"/>
                </a:cubicBezTo>
                <a:cubicBezTo>
                  <a:pt x="8441151" y="1011063"/>
                  <a:pt x="8418974" y="1019217"/>
                  <a:pt x="8404328" y="1032181"/>
                </a:cubicBezTo>
                <a:cubicBezTo>
                  <a:pt x="8389683" y="1045354"/>
                  <a:pt x="8382570" y="1063755"/>
                  <a:pt x="8382570" y="1084246"/>
                </a:cubicBezTo>
                <a:cubicBezTo>
                  <a:pt x="8382570" y="1108292"/>
                  <a:pt x="8393449" y="1123556"/>
                  <a:pt x="8412697" y="1135474"/>
                </a:cubicBezTo>
                <a:cubicBezTo>
                  <a:pt x="8432155" y="1147183"/>
                  <a:pt x="8459772" y="1155338"/>
                  <a:pt x="8493038" y="1165165"/>
                </a:cubicBezTo>
                <a:cubicBezTo>
                  <a:pt x="8532789" y="1177293"/>
                  <a:pt x="8571704" y="1190257"/>
                  <a:pt x="8600786" y="1212421"/>
                </a:cubicBezTo>
                <a:cubicBezTo>
                  <a:pt x="8629658" y="1234585"/>
                  <a:pt x="8648697" y="1265740"/>
                  <a:pt x="8648697" y="1314250"/>
                </a:cubicBezTo>
                <a:cubicBezTo>
                  <a:pt x="8648697" y="1359205"/>
                  <a:pt x="8632169" y="1398097"/>
                  <a:pt x="8601413" y="1425906"/>
                </a:cubicBezTo>
                <a:cubicBezTo>
                  <a:pt x="8570658" y="1453507"/>
                  <a:pt x="8525467" y="1470025"/>
                  <a:pt x="8468140" y="1470025"/>
                </a:cubicBezTo>
                <a:cubicBezTo>
                  <a:pt x="8427552" y="1470025"/>
                  <a:pt x="8393031" y="1463125"/>
                  <a:pt x="8363531" y="1452461"/>
                </a:cubicBezTo>
                <a:cubicBezTo>
                  <a:pt x="8333821" y="1441797"/>
                  <a:pt x="8308715" y="1427161"/>
                  <a:pt x="8286747" y="1411479"/>
                </a:cubicBezTo>
                <a:cubicBezTo>
                  <a:pt x="8286747" y="1411479"/>
                  <a:pt x="8286747" y="1411479"/>
                  <a:pt x="8307251" y="1379069"/>
                </a:cubicBezTo>
                <a:cubicBezTo>
                  <a:pt x="8307251" y="1379069"/>
                  <a:pt x="8307251" y="1379069"/>
                  <a:pt x="8327754" y="1346450"/>
                </a:cubicBezTo>
                <a:cubicBezTo>
                  <a:pt x="8349931" y="1360669"/>
                  <a:pt x="8372318" y="1373005"/>
                  <a:pt x="8395541" y="1381578"/>
                </a:cubicBezTo>
                <a:cubicBezTo>
                  <a:pt x="8418765" y="1390360"/>
                  <a:pt x="8442825" y="1395378"/>
                  <a:pt x="8468768" y="1395378"/>
                </a:cubicBezTo>
                <a:cubicBezTo>
                  <a:pt x="8500569" y="1395378"/>
                  <a:pt x="8525048" y="1387224"/>
                  <a:pt x="8541367" y="1373633"/>
                </a:cubicBezTo>
                <a:cubicBezTo>
                  <a:pt x="8557686" y="1360041"/>
                  <a:pt x="8566055" y="1341014"/>
                  <a:pt x="8566055" y="1319477"/>
                </a:cubicBezTo>
                <a:cubicBezTo>
                  <a:pt x="8566055" y="1295640"/>
                  <a:pt x="8554967" y="1280376"/>
                  <a:pt x="8535509" y="1268458"/>
                </a:cubicBezTo>
                <a:cubicBezTo>
                  <a:pt x="8516261" y="1256540"/>
                  <a:pt x="8488644" y="1248176"/>
                  <a:pt x="8455587" y="1238348"/>
                </a:cubicBezTo>
                <a:cubicBezTo>
                  <a:pt x="8415417" y="1226221"/>
                  <a:pt x="8376502" y="1213466"/>
                  <a:pt x="8347630" y="1191511"/>
                </a:cubicBezTo>
                <a:cubicBezTo>
                  <a:pt x="8318758" y="1169556"/>
                  <a:pt x="8299928" y="1138192"/>
                  <a:pt x="8299928" y="1089264"/>
                </a:cubicBezTo>
                <a:cubicBezTo>
                  <a:pt x="8299928" y="1044727"/>
                  <a:pt x="8315829" y="1006463"/>
                  <a:pt x="8345329" y="979489"/>
                </a:cubicBezTo>
                <a:cubicBezTo>
                  <a:pt x="8374828" y="952516"/>
                  <a:pt x="8417718" y="936625"/>
                  <a:pt x="8471697" y="936625"/>
                </a:cubicBezTo>
                <a:close/>
                <a:moveTo>
                  <a:pt x="7349808" y="936625"/>
                </a:moveTo>
                <a:cubicBezTo>
                  <a:pt x="7424849" y="936625"/>
                  <a:pt x="7492344" y="966526"/>
                  <a:pt x="7541183" y="1014826"/>
                </a:cubicBezTo>
                <a:cubicBezTo>
                  <a:pt x="7590023" y="1063127"/>
                  <a:pt x="7619997" y="1129828"/>
                  <a:pt x="7619997" y="1203221"/>
                </a:cubicBezTo>
                <a:cubicBezTo>
                  <a:pt x="7619997" y="1276613"/>
                  <a:pt x="7590023" y="1343314"/>
                  <a:pt x="7541183" y="1391615"/>
                </a:cubicBezTo>
                <a:cubicBezTo>
                  <a:pt x="7492344" y="1440125"/>
                  <a:pt x="7424849" y="1470025"/>
                  <a:pt x="7349808" y="1470025"/>
                </a:cubicBezTo>
                <a:cubicBezTo>
                  <a:pt x="7274767" y="1470025"/>
                  <a:pt x="7207272" y="1440125"/>
                  <a:pt x="7158642" y="1391615"/>
                </a:cubicBezTo>
                <a:cubicBezTo>
                  <a:pt x="7110012" y="1343314"/>
                  <a:pt x="7080247" y="1276613"/>
                  <a:pt x="7080247" y="1203221"/>
                </a:cubicBezTo>
                <a:cubicBezTo>
                  <a:pt x="7080247" y="1129828"/>
                  <a:pt x="7110012" y="1063127"/>
                  <a:pt x="7158642" y="1014826"/>
                </a:cubicBezTo>
                <a:cubicBezTo>
                  <a:pt x="7207272" y="966526"/>
                  <a:pt x="7274767" y="936625"/>
                  <a:pt x="7349808" y="936625"/>
                </a:cubicBezTo>
                <a:close/>
                <a:moveTo>
                  <a:pt x="6837427" y="936625"/>
                </a:moveTo>
                <a:cubicBezTo>
                  <a:pt x="6874092" y="936625"/>
                  <a:pt x="6904891" y="941852"/>
                  <a:pt x="6932756" y="951680"/>
                </a:cubicBezTo>
                <a:cubicBezTo>
                  <a:pt x="6960412" y="961507"/>
                  <a:pt x="6984925" y="975726"/>
                  <a:pt x="7008810" y="993499"/>
                </a:cubicBezTo>
                <a:cubicBezTo>
                  <a:pt x="7008810" y="993499"/>
                  <a:pt x="7008810" y="993499"/>
                  <a:pt x="6987439" y="1026745"/>
                </a:cubicBezTo>
                <a:cubicBezTo>
                  <a:pt x="6987439" y="1026745"/>
                  <a:pt x="6987439" y="1026745"/>
                  <a:pt x="6966278" y="1059991"/>
                </a:cubicBezTo>
                <a:cubicBezTo>
                  <a:pt x="6946584" y="1044727"/>
                  <a:pt x="6926680" y="1032809"/>
                  <a:pt x="6904891" y="1024863"/>
                </a:cubicBezTo>
                <a:cubicBezTo>
                  <a:pt x="6883101" y="1016708"/>
                  <a:pt x="6859845" y="1012526"/>
                  <a:pt x="6833027" y="1012526"/>
                </a:cubicBezTo>
                <a:cubicBezTo>
                  <a:pt x="6782115" y="1012526"/>
                  <a:pt x="6736441" y="1033436"/>
                  <a:pt x="6703338" y="1067727"/>
                </a:cubicBezTo>
                <a:cubicBezTo>
                  <a:pt x="6670444" y="1102019"/>
                  <a:pt x="6649912" y="1149483"/>
                  <a:pt x="6649912" y="1203221"/>
                </a:cubicBezTo>
                <a:cubicBezTo>
                  <a:pt x="6649912" y="1256958"/>
                  <a:pt x="6670444" y="1304631"/>
                  <a:pt x="6703338" y="1338923"/>
                </a:cubicBezTo>
                <a:cubicBezTo>
                  <a:pt x="6736441" y="1373214"/>
                  <a:pt x="6782115" y="1393915"/>
                  <a:pt x="6833027" y="1393915"/>
                </a:cubicBezTo>
                <a:cubicBezTo>
                  <a:pt x="6859845" y="1393915"/>
                  <a:pt x="6883101" y="1389733"/>
                  <a:pt x="6904891" y="1381787"/>
                </a:cubicBezTo>
                <a:cubicBezTo>
                  <a:pt x="6926680" y="1373633"/>
                  <a:pt x="6946584" y="1361923"/>
                  <a:pt x="6966278" y="1346450"/>
                </a:cubicBezTo>
                <a:cubicBezTo>
                  <a:pt x="6966278" y="1346450"/>
                  <a:pt x="6966278" y="1346450"/>
                  <a:pt x="6987439" y="1379696"/>
                </a:cubicBezTo>
                <a:cubicBezTo>
                  <a:pt x="6987439" y="1379696"/>
                  <a:pt x="6987439" y="1379696"/>
                  <a:pt x="7008810" y="1412942"/>
                </a:cubicBezTo>
                <a:cubicBezTo>
                  <a:pt x="6984925" y="1430924"/>
                  <a:pt x="6960412" y="1445143"/>
                  <a:pt x="6932756" y="1454970"/>
                </a:cubicBezTo>
                <a:cubicBezTo>
                  <a:pt x="6904891" y="1464589"/>
                  <a:pt x="6874092" y="1470025"/>
                  <a:pt x="6837427" y="1470025"/>
                </a:cubicBezTo>
                <a:cubicBezTo>
                  <a:pt x="6761373" y="1470025"/>
                  <a:pt x="6693491" y="1440334"/>
                  <a:pt x="6644674" y="1392242"/>
                </a:cubicBezTo>
                <a:cubicBezTo>
                  <a:pt x="6595648" y="1344150"/>
                  <a:pt x="6565897" y="1277449"/>
                  <a:pt x="6565897" y="1203221"/>
                </a:cubicBezTo>
                <a:cubicBezTo>
                  <a:pt x="6565897" y="1129201"/>
                  <a:pt x="6595648" y="1062500"/>
                  <a:pt x="6644674" y="1014408"/>
                </a:cubicBezTo>
                <a:cubicBezTo>
                  <a:pt x="6693491" y="966107"/>
                  <a:pt x="6761373" y="936625"/>
                  <a:pt x="6837427" y="936625"/>
                </a:cubicBezTo>
                <a:close/>
                <a:moveTo>
                  <a:pt x="501650" y="477838"/>
                </a:moveTo>
                <a:cubicBezTo>
                  <a:pt x="501650" y="477838"/>
                  <a:pt x="501650" y="477838"/>
                  <a:pt x="501650" y="981076"/>
                </a:cubicBezTo>
                <a:cubicBezTo>
                  <a:pt x="501650" y="981076"/>
                  <a:pt x="501650" y="981076"/>
                  <a:pt x="786010" y="981076"/>
                </a:cubicBezTo>
                <a:cubicBezTo>
                  <a:pt x="786010" y="981076"/>
                  <a:pt x="786010" y="981076"/>
                  <a:pt x="1070579" y="981076"/>
                </a:cubicBezTo>
                <a:cubicBezTo>
                  <a:pt x="1142870" y="981076"/>
                  <a:pt x="1207013" y="953710"/>
                  <a:pt x="1253188" y="908588"/>
                </a:cubicBezTo>
                <a:cubicBezTo>
                  <a:pt x="1299153" y="863466"/>
                  <a:pt x="1327150" y="800169"/>
                  <a:pt x="1327150" y="727681"/>
                </a:cubicBezTo>
                <a:cubicBezTo>
                  <a:pt x="1327150" y="655402"/>
                  <a:pt x="1299153" y="592942"/>
                  <a:pt x="1253188" y="548446"/>
                </a:cubicBezTo>
                <a:cubicBezTo>
                  <a:pt x="1207013" y="503951"/>
                  <a:pt x="1142870" y="477838"/>
                  <a:pt x="1070579" y="477838"/>
                </a:cubicBezTo>
                <a:cubicBezTo>
                  <a:pt x="1070579" y="477838"/>
                  <a:pt x="1070579" y="477838"/>
                  <a:pt x="501650" y="477838"/>
                </a:cubicBezTo>
                <a:close/>
                <a:moveTo>
                  <a:pt x="6675435" y="336550"/>
                </a:moveTo>
                <a:cubicBezTo>
                  <a:pt x="6675435" y="487363"/>
                  <a:pt x="6675435" y="487363"/>
                  <a:pt x="6675435" y="487363"/>
                </a:cubicBezTo>
                <a:cubicBezTo>
                  <a:pt x="6808467" y="487363"/>
                  <a:pt x="6808467" y="487363"/>
                  <a:pt x="6808467" y="487363"/>
                </a:cubicBezTo>
                <a:cubicBezTo>
                  <a:pt x="6831475" y="487363"/>
                  <a:pt x="6851346" y="478985"/>
                  <a:pt x="6865570" y="465370"/>
                </a:cubicBezTo>
                <a:cubicBezTo>
                  <a:pt x="6879793" y="451755"/>
                  <a:pt x="6888160" y="432903"/>
                  <a:pt x="6888160" y="411957"/>
                </a:cubicBezTo>
                <a:cubicBezTo>
                  <a:pt x="6888160" y="390801"/>
                  <a:pt x="6879793" y="371949"/>
                  <a:pt x="6865570" y="358334"/>
                </a:cubicBezTo>
                <a:cubicBezTo>
                  <a:pt x="6851346" y="344719"/>
                  <a:pt x="6831475" y="336550"/>
                  <a:pt x="6808467" y="336550"/>
                </a:cubicBezTo>
                <a:cubicBezTo>
                  <a:pt x="6675435" y="336550"/>
                  <a:pt x="6675435" y="336550"/>
                  <a:pt x="6675435" y="336550"/>
                </a:cubicBezTo>
                <a:close/>
                <a:moveTo>
                  <a:pt x="6675435" y="122238"/>
                </a:moveTo>
                <a:cubicBezTo>
                  <a:pt x="6675435" y="265113"/>
                  <a:pt x="6675435" y="265113"/>
                  <a:pt x="6675435" y="265113"/>
                </a:cubicBezTo>
                <a:cubicBezTo>
                  <a:pt x="6795279" y="265113"/>
                  <a:pt x="6795279" y="265113"/>
                  <a:pt x="6795279" y="265113"/>
                </a:cubicBezTo>
                <a:cubicBezTo>
                  <a:pt x="6816822" y="265113"/>
                  <a:pt x="6835228" y="257396"/>
                  <a:pt x="6848404" y="244673"/>
                </a:cubicBezTo>
                <a:cubicBezTo>
                  <a:pt x="6861372" y="231949"/>
                  <a:pt x="6869110" y="214012"/>
                  <a:pt x="6869110" y="193571"/>
                </a:cubicBezTo>
                <a:cubicBezTo>
                  <a:pt x="6869110" y="173131"/>
                  <a:pt x="6861372" y="155402"/>
                  <a:pt x="6848404" y="142679"/>
                </a:cubicBezTo>
                <a:cubicBezTo>
                  <a:pt x="6835228" y="129747"/>
                  <a:pt x="6816822" y="122238"/>
                  <a:pt x="6795279" y="122238"/>
                </a:cubicBezTo>
                <a:cubicBezTo>
                  <a:pt x="6675435" y="122238"/>
                  <a:pt x="6675435" y="122238"/>
                  <a:pt x="6675435" y="122238"/>
                </a:cubicBezTo>
                <a:close/>
                <a:moveTo>
                  <a:pt x="8850791" y="114300"/>
                </a:moveTo>
                <a:cubicBezTo>
                  <a:pt x="8799203" y="114300"/>
                  <a:pt x="8753045" y="135269"/>
                  <a:pt x="8719837" y="169657"/>
                </a:cubicBezTo>
                <a:cubicBezTo>
                  <a:pt x="8686419" y="204046"/>
                  <a:pt x="8666160" y="251645"/>
                  <a:pt x="8666160" y="304905"/>
                </a:cubicBezTo>
                <a:cubicBezTo>
                  <a:pt x="8666160" y="357956"/>
                  <a:pt x="8686419" y="405554"/>
                  <a:pt x="8719837" y="439943"/>
                </a:cubicBezTo>
                <a:cubicBezTo>
                  <a:pt x="8753045" y="474332"/>
                  <a:pt x="8799203" y="495300"/>
                  <a:pt x="8850791" y="495300"/>
                </a:cubicBezTo>
                <a:cubicBezTo>
                  <a:pt x="8902588" y="495300"/>
                  <a:pt x="8948954" y="474541"/>
                  <a:pt x="8982163" y="440153"/>
                </a:cubicBezTo>
                <a:cubicBezTo>
                  <a:pt x="9015580" y="405974"/>
                  <a:pt x="9036048" y="358375"/>
                  <a:pt x="9036048" y="304905"/>
                </a:cubicBezTo>
                <a:cubicBezTo>
                  <a:pt x="9036048" y="251645"/>
                  <a:pt x="9015371" y="204046"/>
                  <a:pt x="8981954" y="169657"/>
                </a:cubicBezTo>
                <a:cubicBezTo>
                  <a:pt x="8948536" y="135269"/>
                  <a:pt x="8902170" y="114300"/>
                  <a:pt x="8850791" y="114300"/>
                </a:cubicBezTo>
                <a:close/>
                <a:moveTo>
                  <a:pt x="7335415" y="114300"/>
                </a:moveTo>
                <a:cubicBezTo>
                  <a:pt x="7283845" y="114300"/>
                  <a:pt x="7237515" y="135269"/>
                  <a:pt x="7203974" y="169657"/>
                </a:cubicBezTo>
                <a:cubicBezTo>
                  <a:pt x="7170642" y="204046"/>
                  <a:pt x="7150097" y="251645"/>
                  <a:pt x="7150097" y="304905"/>
                </a:cubicBezTo>
                <a:cubicBezTo>
                  <a:pt x="7150097" y="357956"/>
                  <a:pt x="7170642" y="405554"/>
                  <a:pt x="7203974" y="439943"/>
                </a:cubicBezTo>
                <a:cubicBezTo>
                  <a:pt x="7237515" y="474332"/>
                  <a:pt x="7283845" y="495300"/>
                  <a:pt x="7335415" y="495300"/>
                </a:cubicBezTo>
                <a:cubicBezTo>
                  <a:pt x="7387405" y="495300"/>
                  <a:pt x="7433944" y="474541"/>
                  <a:pt x="7467486" y="440153"/>
                </a:cubicBezTo>
                <a:cubicBezTo>
                  <a:pt x="7501028" y="405974"/>
                  <a:pt x="7521572" y="358375"/>
                  <a:pt x="7521572" y="304905"/>
                </a:cubicBezTo>
                <a:cubicBezTo>
                  <a:pt x="7521572" y="251645"/>
                  <a:pt x="7500818" y="204046"/>
                  <a:pt x="7467067" y="169657"/>
                </a:cubicBezTo>
                <a:cubicBezTo>
                  <a:pt x="7433525" y="135269"/>
                  <a:pt x="7386986" y="114300"/>
                  <a:pt x="7335415" y="114300"/>
                </a:cubicBezTo>
                <a:close/>
                <a:moveTo>
                  <a:pt x="9237660" y="49213"/>
                </a:moveTo>
                <a:lnTo>
                  <a:pt x="9339260" y="49213"/>
                </a:lnTo>
                <a:lnTo>
                  <a:pt x="9458322" y="242888"/>
                </a:lnTo>
                <a:lnTo>
                  <a:pt x="9578972" y="436563"/>
                </a:lnTo>
                <a:lnTo>
                  <a:pt x="9578972" y="49213"/>
                </a:lnTo>
                <a:lnTo>
                  <a:pt x="9656760" y="49213"/>
                </a:lnTo>
                <a:lnTo>
                  <a:pt x="9656760" y="560388"/>
                </a:lnTo>
                <a:lnTo>
                  <a:pt x="9561510" y="560388"/>
                </a:lnTo>
                <a:lnTo>
                  <a:pt x="9439272" y="363538"/>
                </a:lnTo>
                <a:lnTo>
                  <a:pt x="9317035" y="165101"/>
                </a:lnTo>
                <a:lnTo>
                  <a:pt x="9317035" y="560388"/>
                </a:lnTo>
                <a:lnTo>
                  <a:pt x="9237660" y="560388"/>
                </a:lnTo>
                <a:close/>
                <a:moveTo>
                  <a:pt x="8126410" y="49213"/>
                </a:moveTo>
                <a:lnTo>
                  <a:pt x="8529635" y="49213"/>
                </a:lnTo>
                <a:lnTo>
                  <a:pt x="8529635" y="125413"/>
                </a:lnTo>
                <a:lnTo>
                  <a:pt x="8369298" y="125413"/>
                </a:lnTo>
                <a:lnTo>
                  <a:pt x="8369298" y="560388"/>
                </a:lnTo>
                <a:lnTo>
                  <a:pt x="8285160" y="560388"/>
                </a:lnTo>
                <a:lnTo>
                  <a:pt x="8285160" y="125413"/>
                </a:lnTo>
                <a:lnTo>
                  <a:pt x="8126410" y="125413"/>
                </a:lnTo>
                <a:close/>
                <a:moveTo>
                  <a:pt x="6592885" y="49213"/>
                </a:moveTo>
                <a:cubicBezTo>
                  <a:pt x="6795851" y="49213"/>
                  <a:pt x="6795851" y="49213"/>
                  <a:pt x="6795851" y="49213"/>
                </a:cubicBezTo>
                <a:cubicBezTo>
                  <a:pt x="6840537" y="49213"/>
                  <a:pt x="6879794" y="63633"/>
                  <a:pt x="6907775" y="87875"/>
                </a:cubicBezTo>
                <a:cubicBezTo>
                  <a:pt x="6935756" y="112117"/>
                  <a:pt x="6952670" y="146182"/>
                  <a:pt x="6952670" y="185680"/>
                </a:cubicBezTo>
                <a:cubicBezTo>
                  <a:pt x="6952670" y="208041"/>
                  <a:pt x="6946823" y="228103"/>
                  <a:pt x="6936382" y="245658"/>
                </a:cubicBezTo>
                <a:cubicBezTo>
                  <a:pt x="6925733" y="263004"/>
                  <a:pt x="6910698" y="277633"/>
                  <a:pt x="6892114" y="288709"/>
                </a:cubicBezTo>
                <a:cubicBezTo>
                  <a:pt x="6916963" y="300621"/>
                  <a:pt x="6937009" y="318176"/>
                  <a:pt x="6950791" y="339492"/>
                </a:cubicBezTo>
                <a:cubicBezTo>
                  <a:pt x="6964572" y="360808"/>
                  <a:pt x="6972298" y="385677"/>
                  <a:pt x="6972298" y="412845"/>
                </a:cubicBezTo>
                <a:cubicBezTo>
                  <a:pt x="6972298" y="454015"/>
                  <a:pt x="6955384" y="491005"/>
                  <a:pt x="6926359" y="517546"/>
                </a:cubicBezTo>
                <a:cubicBezTo>
                  <a:pt x="6897543" y="544087"/>
                  <a:pt x="6856616" y="560388"/>
                  <a:pt x="6808798" y="560388"/>
                </a:cubicBezTo>
                <a:cubicBezTo>
                  <a:pt x="6592885" y="560388"/>
                  <a:pt x="6592885" y="560388"/>
                  <a:pt x="6592885" y="560388"/>
                </a:cubicBezTo>
                <a:cubicBezTo>
                  <a:pt x="6592885" y="49213"/>
                  <a:pt x="6592885" y="49213"/>
                  <a:pt x="6592885" y="49213"/>
                </a:cubicBezTo>
                <a:close/>
                <a:moveTo>
                  <a:pt x="8850790" y="38100"/>
                </a:moveTo>
                <a:cubicBezTo>
                  <a:pt x="8925610" y="38100"/>
                  <a:pt x="8992907" y="68001"/>
                  <a:pt x="9041603" y="116301"/>
                </a:cubicBezTo>
                <a:cubicBezTo>
                  <a:pt x="9090299" y="164602"/>
                  <a:pt x="9120185" y="231303"/>
                  <a:pt x="9120185" y="304905"/>
                </a:cubicBezTo>
                <a:cubicBezTo>
                  <a:pt x="9120185" y="378297"/>
                  <a:pt x="9090299" y="444998"/>
                  <a:pt x="9041603" y="493090"/>
                </a:cubicBezTo>
                <a:cubicBezTo>
                  <a:pt x="8992907" y="541600"/>
                  <a:pt x="8925610" y="571500"/>
                  <a:pt x="8850790" y="571500"/>
                </a:cubicBezTo>
                <a:cubicBezTo>
                  <a:pt x="8775761" y="571500"/>
                  <a:pt x="8708673" y="541600"/>
                  <a:pt x="8660186" y="493090"/>
                </a:cubicBezTo>
                <a:cubicBezTo>
                  <a:pt x="8611699" y="444998"/>
                  <a:pt x="8582022" y="378297"/>
                  <a:pt x="8582022" y="304905"/>
                </a:cubicBezTo>
                <a:cubicBezTo>
                  <a:pt x="8582022" y="231303"/>
                  <a:pt x="8611699" y="164602"/>
                  <a:pt x="8660186" y="116301"/>
                </a:cubicBezTo>
                <a:cubicBezTo>
                  <a:pt x="8708673" y="68001"/>
                  <a:pt x="8775761" y="38100"/>
                  <a:pt x="8850790" y="38100"/>
                </a:cubicBezTo>
                <a:close/>
                <a:moveTo>
                  <a:pt x="7870035" y="38100"/>
                </a:moveTo>
                <a:cubicBezTo>
                  <a:pt x="7871499" y="38100"/>
                  <a:pt x="7871499" y="38100"/>
                  <a:pt x="7871499" y="38100"/>
                </a:cubicBezTo>
                <a:cubicBezTo>
                  <a:pt x="7901627" y="38309"/>
                  <a:pt x="7929663" y="42909"/>
                  <a:pt x="7955187" y="51273"/>
                </a:cubicBezTo>
                <a:cubicBezTo>
                  <a:pt x="7981131" y="59637"/>
                  <a:pt x="8004563" y="71764"/>
                  <a:pt x="8025067" y="86401"/>
                </a:cubicBezTo>
                <a:cubicBezTo>
                  <a:pt x="8004563" y="118811"/>
                  <a:pt x="8004563" y="118811"/>
                  <a:pt x="8004563" y="118811"/>
                </a:cubicBezTo>
                <a:cubicBezTo>
                  <a:pt x="7984060" y="151429"/>
                  <a:pt x="7984060" y="151429"/>
                  <a:pt x="7984060" y="151429"/>
                </a:cubicBezTo>
                <a:cubicBezTo>
                  <a:pt x="7964811" y="138884"/>
                  <a:pt x="7945982" y="129265"/>
                  <a:pt x="7926943" y="122574"/>
                </a:cubicBezTo>
                <a:cubicBezTo>
                  <a:pt x="7908113" y="116092"/>
                  <a:pt x="7889074" y="112538"/>
                  <a:pt x="7869198" y="112538"/>
                </a:cubicBezTo>
                <a:cubicBezTo>
                  <a:pt x="7839280" y="112538"/>
                  <a:pt x="7817312" y="120692"/>
                  <a:pt x="7802666" y="133865"/>
                </a:cubicBezTo>
                <a:cubicBezTo>
                  <a:pt x="7788021" y="147038"/>
                  <a:pt x="7780907" y="165230"/>
                  <a:pt x="7780907" y="185721"/>
                </a:cubicBezTo>
                <a:cubicBezTo>
                  <a:pt x="7780907" y="209767"/>
                  <a:pt x="7791787" y="225031"/>
                  <a:pt x="7811035" y="236949"/>
                </a:cubicBezTo>
                <a:cubicBezTo>
                  <a:pt x="7830283" y="248658"/>
                  <a:pt x="7857900" y="257022"/>
                  <a:pt x="7891166" y="266849"/>
                </a:cubicBezTo>
                <a:cubicBezTo>
                  <a:pt x="7931127" y="278977"/>
                  <a:pt x="7970042" y="291941"/>
                  <a:pt x="7998914" y="313896"/>
                </a:cubicBezTo>
                <a:cubicBezTo>
                  <a:pt x="8027996" y="336060"/>
                  <a:pt x="8047035" y="367424"/>
                  <a:pt x="8047035" y="415934"/>
                </a:cubicBezTo>
                <a:cubicBezTo>
                  <a:pt x="8047035" y="460889"/>
                  <a:pt x="8030506" y="499781"/>
                  <a:pt x="7999751" y="527381"/>
                </a:cubicBezTo>
                <a:cubicBezTo>
                  <a:pt x="7968787" y="554982"/>
                  <a:pt x="7923804" y="571500"/>
                  <a:pt x="7866478" y="571500"/>
                </a:cubicBezTo>
                <a:cubicBezTo>
                  <a:pt x="7825890" y="571500"/>
                  <a:pt x="7791368" y="564809"/>
                  <a:pt x="7761659" y="554145"/>
                </a:cubicBezTo>
                <a:cubicBezTo>
                  <a:pt x="7731950" y="543272"/>
                  <a:pt x="7707053" y="528845"/>
                  <a:pt x="7685085" y="512954"/>
                </a:cubicBezTo>
                <a:cubicBezTo>
                  <a:pt x="7725883" y="447925"/>
                  <a:pt x="7725883" y="447925"/>
                  <a:pt x="7725883" y="447925"/>
                </a:cubicBezTo>
                <a:cubicBezTo>
                  <a:pt x="7748269" y="462353"/>
                  <a:pt x="7770656" y="474480"/>
                  <a:pt x="7793879" y="483053"/>
                </a:cubicBezTo>
                <a:cubicBezTo>
                  <a:pt x="7816893" y="491835"/>
                  <a:pt x="7841163" y="497063"/>
                  <a:pt x="7867106" y="497063"/>
                </a:cubicBezTo>
                <a:cubicBezTo>
                  <a:pt x="7898907" y="497063"/>
                  <a:pt x="7923177" y="488699"/>
                  <a:pt x="7939496" y="475108"/>
                </a:cubicBezTo>
                <a:cubicBezTo>
                  <a:pt x="7956024" y="461516"/>
                  <a:pt x="7964393" y="442489"/>
                  <a:pt x="7964393" y="420952"/>
                </a:cubicBezTo>
                <a:cubicBezTo>
                  <a:pt x="7964393" y="397324"/>
                  <a:pt x="7953095" y="381851"/>
                  <a:pt x="7933847" y="369933"/>
                </a:cubicBezTo>
                <a:cubicBezTo>
                  <a:pt x="7914389" y="358224"/>
                  <a:pt x="7886982" y="349860"/>
                  <a:pt x="7853925" y="339823"/>
                </a:cubicBezTo>
                <a:cubicBezTo>
                  <a:pt x="7813755" y="327696"/>
                  <a:pt x="7774840" y="314941"/>
                  <a:pt x="7745968" y="292986"/>
                </a:cubicBezTo>
                <a:cubicBezTo>
                  <a:pt x="7717095" y="271031"/>
                  <a:pt x="7698266" y="239667"/>
                  <a:pt x="7698266" y="190739"/>
                </a:cubicBezTo>
                <a:cubicBezTo>
                  <a:pt x="7698266" y="146202"/>
                  <a:pt x="7714166" y="107938"/>
                  <a:pt x="7743666" y="80964"/>
                </a:cubicBezTo>
                <a:cubicBezTo>
                  <a:pt x="7772957" y="53991"/>
                  <a:pt x="7815847" y="38100"/>
                  <a:pt x="7870035" y="38100"/>
                </a:cubicBezTo>
                <a:close/>
                <a:moveTo>
                  <a:pt x="7334624" y="38100"/>
                </a:moveTo>
                <a:cubicBezTo>
                  <a:pt x="7409415" y="38100"/>
                  <a:pt x="7476894" y="68001"/>
                  <a:pt x="7525363" y="116301"/>
                </a:cubicBezTo>
                <a:cubicBezTo>
                  <a:pt x="7574040" y="164602"/>
                  <a:pt x="7604123" y="231303"/>
                  <a:pt x="7604123" y="304905"/>
                </a:cubicBezTo>
                <a:cubicBezTo>
                  <a:pt x="7604123" y="378297"/>
                  <a:pt x="7574040" y="444998"/>
                  <a:pt x="7525363" y="493090"/>
                </a:cubicBezTo>
                <a:cubicBezTo>
                  <a:pt x="7476894" y="541600"/>
                  <a:pt x="7409415" y="571500"/>
                  <a:pt x="7334624" y="571500"/>
                </a:cubicBezTo>
                <a:cubicBezTo>
                  <a:pt x="7259833" y="571500"/>
                  <a:pt x="7192562" y="541600"/>
                  <a:pt x="7144094" y="493090"/>
                </a:cubicBezTo>
                <a:cubicBezTo>
                  <a:pt x="7095626" y="444998"/>
                  <a:pt x="7065960" y="378297"/>
                  <a:pt x="7065960" y="304905"/>
                </a:cubicBezTo>
                <a:cubicBezTo>
                  <a:pt x="7065960" y="231303"/>
                  <a:pt x="7095626" y="164602"/>
                  <a:pt x="7144094" y="116301"/>
                </a:cubicBezTo>
                <a:cubicBezTo>
                  <a:pt x="7192562" y="68001"/>
                  <a:pt x="7259833" y="38100"/>
                  <a:pt x="7334624" y="38100"/>
                </a:cubicBezTo>
                <a:close/>
                <a:moveTo>
                  <a:pt x="2766077" y="0"/>
                </a:moveTo>
                <a:cubicBezTo>
                  <a:pt x="2901191" y="0"/>
                  <a:pt x="3028777" y="17359"/>
                  <a:pt x="3146531" y="51449"/>
                </a:cubicBezTo>
                <a:cubicBezTo>
                  <a:pt x="3264077" y="85540"/>
                  <a:pt x="3372000" y="136571"/>
                  <a:pt x="3467375" y="204124"/>
                </a:cubicBezTo>
                <a:cubicBezTo>
                  <a:pt x="3467375" y="204124"/>
                  <a:pt x="3467375" y="204124"/>
                  <a:pt x="3340627" y="403228"/>
                </a:cubicBezTo>
                <a:cubicBezTo>
                  <a:pt x="3340627" y="403228"/>
                  <a:pt x="3340627" y="403228"/>
                  <a:pt x="3213880" y="602542"/>
                </a:cubicBezTo>
                <a:cubicBezTo>
                  <a:pt x="3153015" y="556321"/>
                  <a:pt x="3084622" y="520976"/>
                  <a:pt x="3009743" y="496716"/>
                </a:cubicBezTo>
                <a:cubicBezTo>
                  <a:pt x="2934865" y="472455"/>
                  <a:pt x="2853295" y="459279"/>
                  <a:pt x="2766077" y="457606"/>
                </a:cubicBezTo>
                <a:cubicBezTo>
                  <a:pt x="2556923" y="459279"/>
                  <a:pt x="2368473" y="545655"/>
                  <a:pt x="2232314" y="681180"/>
                </a:cubicBezTo>
                <a:cubicBezTo>
                  <a:pt x="2095946" y="816496"/>
                  <a:pt x="2012073" y="1000960"/>
                  <a:pt x="2012073" y="1198391"/>
                </a:cubicBezTo>
                <a:cubicBezTo>
                  <a:pt x="2012073" y="1399378"/>
                  <a:pt x="2095946" y="1585307"/>
                  <a:pt x="2232314" y="1721250"/>
                </a:cubicBezTo>
                <a:cubicBezTo>
                  <a:pt x="2368473" y="1856984"/>
                  <a:pt x="2556923" y="1942732"/>
                  <a:pt x="2766077" y="1942732"/>
                </a:cubicBezTo>
                <a:cubicBezTo>
                  <a:pt x="2868145" y="1942732"/>
                  <a:pt x="2962893" y="1923700"/>
                  <a:pt x="3050111" y="1886682"/>
                </a:cubicBezTo>
                <a:cubicBezTo>
                  <a:pt x="3137328" y="1849664"/>
                  <a:pt x="3217225" y="1794450"/>
                  <a:pt x="3289594" y="1722086"/>
                </a:cubicBezTo>
                <a:cubicBezTo>
                  <a:pt x="3462565" y="1549125"/>
                  <a:pt x="3493101" y="1332661"/>
                  <a:pt x="3543925" y="1095493"/>
                </a:cubicBezTo>
                <a:cubicBezTo>
                  <a:pt x="3595168" y="858533"/>
                  <a:pt x="3666699" y="600869"/>
                  <a:pt x="3921866" y="345714"/>
                </a:cubicBezTo>
                <a:cubicBezTo>
                  <a:pt x="4028953" y="238633"/>
                  <a:pt x="4155701" y="152256"/>
                  <a:pt x="4300646" y="92441"/>
                </a:cubicBezTo>
                <a:cubicBezTo>
                  <a:pt x="4445590" y="32836"/>
                  <a:pt x="4608522" y="0"/>
                  <a:pt x="4787977" y="0"/>
                </a:cubicBezTo>
                <a:cubicBezTo>
                  <a:pt x="4922882" y="0"/>
                  <a:pt x="5050676" y="18823"/>
                  <a:pt x="5168221" y="54796"/>
                </a:cubicBezTo>
                <a:cubicBezTo>
                  <a:pt x="5285976" y="90559"/>
                  <a:pt x="5393900" y="143054"/>
                  <a:pt x="5489275" y="210607"/>
                </a:cubicBezTo>
                <a:cubicBezTo>
                  <a:pt x="5489275" y="210607"/>
                  <a:pt x="5489275" y="210607"/>
                  <a:pt x="5364200" y="409921"/>
                </a:cubicBezTo>
                <a:cubicBezTo>
                  <a:pt x="5364200" y="409921"/>
                  <a:pt x="5364200" y="409921"/>
                  <a:pt x="5239125" y="609025"/>
                </a:cubicBezTo>
                <a:cubicBezTo>
                  <a:pt x="5176588" y="563014"/>
                  <a:pt x="5107357" y="525996"/>
                  <a:pt x="5031643" y="500480"/>
                </a:cubicBezTo>
                <a:cubicBezTo>
                  <a:pt x="4955929" y="474965"/>
                  <a:pt x="4873522" y="460952"/>
                  <a:pt x="4784631" y="460952"/>
                </a:cubicBezTo>
                <a:cubicBezTo>
                  <a:pt x="4580495" y="460952"/>
                  <a:pt x="4396857" y="544818"/>
                  <a:pt x="4264462" y="679089"/>
                </a:cubicBezTo>
                <a:cubicBezTo>
                  <a:pt x="4131857" y="813149"/>
                  <a:pt x="4050287" y="997614"/>
                  <a:pt x="4050287" y="1198391"/>
                </a:cubicBezTo>
                <a:cubicBezTo>
                  <a:pt x="4050287" y="1402724"/>
                  <a:pt x="4131021" y="1589489"/>
                  <a:pt x="4262370" y="1725223"/>
                </a:cubicBezTo>
                <a:cubicBezTo>
                  <a:pt x="4393720" y="1861167"/>
                  <a:pt x="4575477" y="1945870"/>
                  <a:pt x="4778147" y="1945870"/>
                </a:cubicBezTo>
                <a:cubicBezTo>
                  <a:pt x="4939406" y="1945870"/>
                  <a:pt x="5080167" y="1893165"/>
                  <a:pt x="5191438" y="1804280"/>
                </a:cubicBezTo>
                <a:cubicBezTo>
                  <a:pt x="5302499" y="1715394"/>
                  <a:pt x="5384070" y="1590326"/>
                  <a:pt x="5426737" y="1445390"/>
                </a:cubicBezTo>
                <a:cubicBezTo>
                  <a:pt x="5426737" y="1445390"/>
                  <a:pt x="5426737" y="1445390"/>
                  <a:pt x="4708917" y="1445390"/>
                </a:cubicBezTo>
                <a:cubicBezTo>
                  <a:pt x="4708917" y="1445390"/>
                  <a:pt x="4708917" y="1445390"/>
                  <a:pt x="4850515" y="1223279"/>
                </a:cubicBezTo>
                <a:cubicBezTo>
                  <a:pt x="4850515" y="1223279"/>
                  <a:pt x="4850515" y="1223279"/>
                  <a:pt x="4992113" y="1000960"/>
                </a:cubicBezTo>
                <a:cubicBezTo>
                  <a:pt x="4992113" y="1000960"/>
                  <a:pt x="4992113" y="1000960"/>
                  <a:pt x="5457901" y="1000960"/>
                </a:cubicBezTo>
                <a:cubicBezTo>
                  <a:pt x="5457901" y="1000960"/>
                  <a:pt x="5457901" y="1000960"/>
                  <a:pt x="5924108" y="1000960"/>
                </a:cubicBezTo>
                <a:cubicBezTo>
                  <a:pt x="5928919" y="1033796"/>
                  <a:pt x="5933102" y="1066840"/>
                  <a:pt x="5936030" y="1100094"/>
                </a:cubicBezTo>
                <a:cubicBezTo>
                  <a:pt x="5938749" y="1133557"/>
                  <a:pt x="5940422" y="1167229"/>
                  <a:pt x="5940422" y="1201738"/>
                </a:cubicBezTo>
                <a:cubicBezTo>
                  <a:pt x="5940422" y="1532602"/>
                  <a:pt x="5812001" y="1833141"/>
                  <a:pt x="5600963" y="2050860"/>
                </a:cubicBezTo>
                <a:cubicBezTo>
                  <a:pt x="5389717" y="2268578"/>
                  <a:pt x="5095854" y="2403475"/>
                  <a:pt x="4764970" y="2403475"/>
                </a:cubicBezTo>
                <a:cubicBezTo>
                  <a:pt x="4549331" y="2403475"/>
                  <a:pt x="4350006" y="2352653"/>
                  <a:pt x="4178290" y="2262513"/>
                </a:cubicBezTo>
                <a:cubicBezTo>
                  <a:pt x="4006784" y="2172372"/>
                  <a:pt x="3862676" y="2043121"/>
                  <a:pt x="3757265" y="1886682"/>
                </a:cubicBezTo>
                <a:cubicBezTo>
                  <a:pt x="3647040" y="2044794"/>
                  <a:pt x="3502931" y="2173836"/>
                  <a:pt x="3332469" y="2263558"/>
                </a:cubicBezTo>
                <a:cubicBezTo>
                  <a:pt x="3162009" y="2353490"/>
                  <a:pt x="2965403" y="2403475"/>
                  <a:pt x="2749555" y="2403475"/>
                </a:cubicBezTo>
                <a:cubicBezTo>
                  <a:pt x="2566961" y="2403475"/>
                  <a:pt x="2395664" y="2364993"/>
                  <a:pt x="2242563" y="2295766"/>
                </a:cubicBezTo>
                <a:cubicBezTo>
                  <a:pt x="2089461" y="2226540"/>
                  <a:pt x="1954347" y="2126988"/>
                  <a:pt x="1844121" y="2005266"/>
                </a:cubicBezTo>
                <a:cubicBezTo>
                  <a:pt x="1783258" y="2108792"/>
                  <a:pt x="1694366" y="2196214"/>
                  <a:pt x="1583096" y="2257493"/>
                </a:cubicBezTo>
                <a:cubicBezTo>
                  <a:pt x="1472034" y="2318772"/>
                  <a:pt x="1338593" y="2354117"/>
                  <a:pt x="1188838" y="2354117"/>
                </a:cubicBezTo>
                <a:cubicBezTo>
                  <a:pt x="1188838" y="2354117"/>
                  <a:pt x="1188838" y="2354117"/>
                  <a:pt x="0" y="2354117"/>
                </a:cubicBezTo>
                <a:cubicBezTo>
                  <a:pt x="0" y="2354117"/>
                  <a:pt x="0" y="2354117"/>
                  <a:pt x="0" y="1201738"/>
                </a:cubicBezTo>
                <a:cubicBezTo>
                  <a:pt x="0" y="1201738"/>
                  <a:pt x="0" y="1201738"/>
                  <a:pt x="0" y="49358"/>
                </a:cubicBezTo>
                <a:cubicBezTo>
                  <a:pt x="0" y="49358"/>
                  <a:pt x="0" y="49358"/>
                  <a:pt x="538575" y="49358"/>
                </a:cubicBezTo>
                <a:cubicBezTo>
                  <a:pt x="538575" y="49358"/>
                  <a:pt x="538575" y="49358"/>
                  <a:pt x="1076940" y="49358"/>
                </a:cubicBezTo>
                <a:cubicBezTo>
                  <a:pt x="1249702" y="49358"/>
                  <a:pt x="1402804" y="96206"/>
                  <a:pt x="1523487" y="176099"/>
                </a:cubicBezTo>
                <a:cubicBezTo>
                  <a:pt x="1643960" y="255992"/>
                  <a:pt x="1732223" y="368720"/>
                  <a:pt x="1774892" y="500480"/>
                </a:cubicBezTo>
                <a:cubicBezTo>
                  <a:pt x="1883653" y="350524"/>
                  <a:pt x="2027552" y="225457"/>
                  <a:pt x="2196549" y="137826"/>
                </a:cubicBezTo>
                <a:cubicBezTo>
                  <a:pt x="2365129" y="50195"/>
                  <a:pt x="2558596" y="0"/>
                  <a:pt x="2766077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06115B64-4E2C-4F66-B709-CFECF3B23C97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9347207" y="5792633"/>
            <a:ext cx="2348894" cy="830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4715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7811A42-8292-4A43-854B-7384F8EF3892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2271444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32AD7B3-E019-420B-A0F0-32535191F8BC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967214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2E63E771-D059-4913-ABC6-CF5869AB5764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3161480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9A4E1807-2C8F-4861-8D76-136F8ED3829C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718632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9C7CC630-5600-48D1-8240-A5AA52658FB5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4248740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BAD3AAA4-964F-4CA8-AA94-FA33F086282C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1221213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C5722A31-1835-4962-A892-C3975D9A85E2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3360214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37E34458-786F-4C22-95E2-2EBB63203D2D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3944316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D82198EF-B83C-45E5-9C69-72BF01DFC864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13951790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FAA5273E-EB6B-4AD8-9DC5-E21574A792B9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2962632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FD2A917-3A07-4FDC-AE69-6302376FC0B7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2432829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52A0A28-96F0-4919-9D03-1DFA98E38DE3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2789764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670B019-5CBE-410E-81E0-EC65CC0CEF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670B019-5CBE-410E-81E0-EC65CC0CEF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C8C2193-E28A-4B27-AEFF-5999FF5ED683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4210564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DE9214F-D6B0-4FEA-B0D7-A411415AD3CC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3790160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643D40A-6605-4CB2-BE8A-822D611C4741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3784688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BE08B0B-D970-4144-B7C9-7BF5421A58DE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2150835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42CDEEA-3E10-4A48-87E8-5D0A15947C30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3123124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 txBox="1">
            <a:spLocks/>
          </p:cNvSpPr>
          <p:nvPr/>
        </p:nvSpPr>
        <p:spPr>
          <a:xfrm>
            <a:off x="639044" y="2973076"/>
            <a:ext cx="3199529" cy="70634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5100">
                <a:gradFill>
                  <a:gsLst>
                    <a:gs pos="100000">
                      <a:schemeClr val="tx2"/>
                    </a:gs>
                    <a:gs pos="2000">
                      <a:schemeClr val="accent2"/>
                    </a:gs>
                  </a:gsLst>
                  <a:lin ang="2700000" scaled="0"/>
                </a:gradFill>
                <a:latin typeface="+mn-lt"/>
                <a:sym typeface="Trebuchet MS" panose="020B0603020202020204" pitchFamily="34" charset="0"/>
              </a:rPr>
              <a:t>Disclaimer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4367898" y="1630185"/>
            <a:ext cx="0" cy="3392129"/>
          </a:xfrm>
          <a:prstGeom prst="line">
            <a:avLst/>
          </a:prstGeom>
          <a:ln w="9525">
            <a:solidFill>
              <a:schemeClr val="tx2"/>
            </a:solidFill>
            <a:miter lim="800000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376451F-62F6-4CE9-AC65-62FEEB8CC73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21826" y="1664256"/>
            <a:ext cx="6209072" cy="3323987"/>
          </a:xfrm>
        </p:spPr>
        <p:txBody>
          <a:bodyPr/>
          <a:lstStyle>
            <a:lvl1pPr>
              <a:defRPr sz="900"/>
            </a:lvl1pPr>
          </a:lstStyle>
          <a:p>
            <a:pPr lvl="0"/>
            <a:r>
              <a:rPr lang="en-US"/>
              <a:t>Edit text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725ED9D-990F-44BB-89E3-2FDF289D8D80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2353778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DF0C538B-09DA-4BC7-B0DA-6DF4C3385B7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15303" t="14039" r="11076" b="31097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73BB7050-F517-44D2-8A11-3359373EAEFD}"/>
              </a:ext>
            </a:extLst>
          </p:cNvPr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AB2A932-2C73-4AC7-9038-74FEBEE6A20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836036" y="2528987"/>
            <a:ext cx="5715000" cy="1724025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1EEFD4D3-9A00-4F22-9D6B-C6764232FD76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3052842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+mn-lt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02F036FE-A647-4C1C-A917-CE765B9BBAE0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554881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CAE2C6A-370D-44A3-BD44-A947D2F628FA}"/>
              </a:ext>
            </a:extLst>
          </p:cNvPr>
          <p:cNvSpPr/>
          <p:nvPr userDrawn="1"/>
        </p:nvSpPr>
        <p:spPr>
          <a:xfrm>
            <a:off x="0" y="5279183"/>
            <a:ext cx="12192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5FE3541-9F7B-4F9F-9512-FD2DA42426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/>
        </p:blipFill>
        <p:spPr>
          <a:xfrm rot="16200000" flipH="1">
            <a:off x="8471921" y="1973272"/>
            <a:ext cx="580573" cy="685800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FCDE6CE4-8EEC-4BA5-9809-5E87D147C57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/>
          <a:srcRect l="4227" t="14039" b="31097"/>
          <a:stretch/>
        </p:blipFill>
        <p:spPr>
          <a:xfrm>
            <a:off x="0" y="0"/>
            <a:ext cx="12192000" cy="5271807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CCDC1FA2-25D0-4397-B956-AA502E0BCAA0}"/>
              </a:ext>
            </a:extLst>
          </p:cNvPr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FCD9A573-E65C-4CD9-8602-317E76B92BC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117415" y="6207842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accent5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/>
              <a:t>Click to edit date/place</a:t>
            </a:r>
          </a:p>
        </p:txBody>
      </p:sp>
      <p:sp>
        <p:nvSpPr>
          <p:cNvPr id="25" name="Subtitle 2">
            <a:extLst>
              <a:ext uri="{FF2B5EF4-FFF2-40B4-BE49-F238E27FC236}">
                <a16:creationId xmlns:a16="http://schemas.microsoft.com/office/drawing/2014/main" id="{6727D858-B779-4716-8C42-9D65FDBBC6C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1117415" y="5495706"/>
            <a:ext cx="6868800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 in sentence case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AA9CBC63-4F39-4C28-A034-2962858E17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ltGray">
          <a:xfrm>
            <a:off x="1117415" y="1886242"/>
            <a:ext cx="6868800" cy="3138423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Title in Title Case</a:t>
            </a:r>
          </a:p>
        </p:txBody>
      </p:sp>
      <p:sp>
        <p:nvSpPr>
          <p:cNvPr id="29" name="Freeform 32">
            <a:extLst>
              <a:ext uri="{FF2B5EF4-FFF2-40B4-BE49-F238E27FC236}">
                <a16:creationId xmlns:a16="http://schemas.microsoft.com/office/drawing/2014/main" id="{719FCE15-3599-47D1-992D-C021AEDEED1E}"/>
              </a:ext>
            </a:extLst>
          </p:cNvPr>
          <p:cNvSpPr>
            <a:spLocks noChangeAspect="1"/>
          </p:cNvSpPr>
          <p:nvPr userDrawn="1">
            <p:custDataLst>
              <p:tags r:id="rId3"/>
            </p:custDataLst>
          </p:nvPr>
        </p:nvSpPr>
        <p:spPr bwMode="auto">
          <a:xfrm>
            <a:off x="1117415" y="1112679"/>
            <a:ext cx="2327644" cy="486479"/>
          </a:xfrm>
          <a:custGeom>
            <a:avLst/>
            <a:gdLst>
              <a:gd name="connsiteX0" fmla="*/ 8982072 w 11499847"/>
              <a:gd name="connsiteY0" fmla="*/ 1919288 h 2403475"/>
              <a:gd name="connsiteX1" fmla="*/ 8982072 w 11499847"/>
              <a:gd name="connsiteY1" fmla="*/ 2105026 h 2403475"/>
              <a:gd name="connsiteX2" fmla="*/ 9098233 w 11499847"/>
              <a:gd name="connsiteY2" fmla="*/ 2105026 h 2403475"/>
              <a:gd name="connsiteX3" fmla="*/ 9164880 w 11499847"/>
              <a:gd name="connsiteY3" fmla="*/ 2080233 h 2403475"/>
              <a:gd name="connsiteX4" fmla="*/ 9191622 w 11499847"/>
              <a:gd name="connsiteY4" fmla="*/ 2011737 h 2403475"/>
              <a:gd name="connsiteX5" fmla="*/ 9164880 w 11499847"/>
              <a:gd name="connsiteY5" fmla="*/ 1944501 h 2403475"/>
              <a:gd name="connsiteX6" fmla="*/ 9098233 w 11499847"/>
              <a:gd name="connsiteY6" fmla="*/ 1919288 h 2403475"/>
              <a:gd name="connsiteX7" fmla="*/ 8982072 w 11499847"/>
              <a:gd name="connsiteY7" fmla="*/ 1919288 h 2403475"/>
              <a:gd name="connsiteX8" fmla="*/ 7280272 w 11499847"/>
              <a:gd name="connsiteY8" fmla="*/ 1919288 h 2403475"/>
              <a:gd name="connsiteX9" fmla="*/ 7280272 w 11499847"/>
              <a:gd name="connsiteY9" fmla="*/ 2097088 h 2403475"/>
              <a:gd name="connsiteX10" fmla="*/ 7404503 w 11499847"/>
              <a:gd name="connsiteY10" fmla="*/ 2097088 h 2403475"/>
              <a:gd name="connsiteX11" fmla="*/ 7469027 w 11499847"/>
              <a:gd name="connsiteY11" fmla="*/ 2073423 h 2403475"/>
              <a:gd name="connsiteX12" fmla="*/ 7494585 w 11499847"/>
              <a:gd name="connsiteY12" fmla="*/ 2008502 h 2403475"/>
              <a:gd name="connsiteX13" fmla="*/ 7469027 w 11499847"/>
              <a:gd name="connsiteY13" fmla="*/ 1943581 h 2403475"/>
              <a:gd name="connsiteX14" fmla="*/ 7404503 w 11499847"/>
              <a:gd name="connsiteY14" fmla="*/ 1919288 h 2403475"/>
              <a:gd name="connsiteX15" fmla="*/ 7280272 w 11499847"/>
              <a:gd name="connsiteY15" fmla="*/ 1919288 h 2403475"/>
              <a:gd name="connsiteX16" fmla="*/ 7945015 w 11499847"/>
              <a:gd name="connsiteY16" fmla="*/ 1909763 h 2403475"/>
              <a:gd name="connsiteX17" fmla="*/ 7813574 w 11499847"/>
              <a:gd name="connsiteY17" fmla="*/ 1965330 h 2403475"/>
              <a:gd name="connsiteX18" fmla="*/ 7759697 w 11499847"/>
              <a:gd name="connsiteY18" fmla="*/ 2100368 h 2403475"/>
              <a:gd name="connsiteX19" fmla="*/ 7813574 w 11499847"/>
              <a:gd name="connsiteY19" fmla="*/ 2235406 h 2403475"/>
              <a:gd name="connsiteX20" fmla="*/ 7945015 w 11499847"/>
              <a:gd name="connsiteY20" fmla="*/ 2290763 h 2403475"/>
              <a:gd name="connsiteX21" fmla="*/ 8077086 w 11499847"/>
              <a:gd name="connsiteY21" fmla="*/ 2235825 h 2403475"/>
              <a:gd name="connsiteX22" fmla="*/ 8131172 w 11499847"/>
              <a:gd name="connsiteY22" fmla="*/ 2100368 h 2403475"/>
              <a:gd name="connsiteX23" fmla="*/ 8076876 w 11499847"/>
              <a:gd name="connsiteY23" fmla="*/ 1965330 h 2403475"/>
              <a:gd name="connsiteX24" fmla="*/ 7945015 w 11499847"/>
              <a:gd name="connsiteY24" fmla="*/ 1909763 h 2403475"/>
              <a:gd name="connsiteX25" fmla="*/ 8899522 w 11499847"/>
              <a:gd name="connsiteY25" fmla="*/ 1844675 h 2403475"/>
              <a:gd name="connsiteX26" fmla="*/ 9098598 w 11499847"/>
              <a:gd name="connsiteY26" fmla="*/ 1844675 h 2403475"/>
              <a:gd name="connsiteX27" fmla="*/ 9228521 w 11499847"/>
              <a:gd name="connsiteY27" fmla="*/ 1892741 h 2403475"/>
              <a:gd name="connsiteX28" fmla="*/ 9277347 w 11499847"/>
              <a:gd name="connsiteY28" fmla="*/ 2011236 h 2403475"/>
              <a:gd name="connsiteX29" fmla="*/ 9228521 w 11499847"/>
              <a:gd name="connsiteY29" fmla="*/ 2129521 h 2403475"/>
              <a:gd name="connsiteX30" fmla="*/ 9098598 w 11499847"/>
              <a:gd name="connsiteY30" fmla="*/ 2177796 h 2403475"/>
              <a:gd name="connsiteX31" fmla="*/ 8982086 w 11499847"/>
              <a:gd name="connsiteY31" fmla="*/ 2177796 h 2403475"/>
              <a:gd name="connsiteX32" fmla="*/ 8982086 w 11499847"/>
              <a:gd name="connsiteY32" fmla="*/ 2355850 h 2403475"/>
              <a:gd name="connsiteX33" fmla="*/ 8899522 w 11499847"/>
              <a:gd name="connsiteY33" fmla="*/ 2355850 h 2403475"/>
              <a:gd name="connsiteX34" fmla="*/ 8899522 w 11499847"/>
              <a:gd name="connsiteY34" fmla="*/ 1844675 h 2403475"/>
              <a:gd name="connsiteX35" fmla="*/ 8324847 w 11499847"/>
              <a:gd name="connsiteY35" fmla="*/ 1844675 h 2403475"/>
              <a:gd name="connsiteX36" fmla="*/ 8407608 w 11499847"/>
              <a:gd name="connsiteY36" fmla="*/ 1844675 h 2403475"/>
              <a:gd name="connsiteX37" fmla="*/ 8407608 w 11499847"/>
              <a:gd name="connsiteY37" fmla="*/ 2158090 h 2403475"/>
              <a:gd name="connsiteX38" fmla="*/ 8443017 w 11499847"/>
              <a:gd name="connsiteY38" fmla="*/ 2252595 h 2403475"/>
              <a:gd name="connsiteX39" fmla="*/ 8537931 w 11499847"/>
              <a:gd name="connsiteY39" fmla="*/ 2291066 h 2403475"/>
              <a:gd name="connsiteX40" fmla="*/ 8631797 w 11499847"/>
              <a:gd name="connsiteY40" fmla="*/ 2252595 h 2403475"/>
              <a:gd name="connsiteX41" fmla="*/ 8667415 w 11499847"/>
              <a:gd name="connsiteY41" fmla="*/ 2158090 h 2403475"/>
              <a:gd name="connsiteX42" fmla="*/ 8667415 w 11499847"/>
              <a:gd name="connsiteY42" fmla="*/ 1844675 h 2403475"/>
              <a:gd name="connsiteX43" fmla="*/ 8748710 w 11499847"/>
              <a:gd name="connsiteY43" fmla="*/ 1844675 h 2403475"/>
              <a:gd name="connsiteX44" fmla="*/ 8748710 w 11499847"/>
              <a:gd name="connsiteY44" fmla="*/ 2158717 h 2403475"/>
              <a:gd name="connsiteX45" fmla="*/ 8688577 w 11499847"/>
              <a:gd name="connsiteY45" fmla="*/ 2307793 h 2403475"/>
              <a:gd name="connsiteX46" fmla="*/ 8537093 w 11499847"/>
              <a:gd name="connsiteY46" fmla="*/ 2366963 h 2403475"/>
              <a:gd name="connsiteX47" fmla="*/ 8385399 w 11499847"/>
              <a:gd name="connsiteY47" fmla="*/ 2307793 h 2403475"/>
              <a:gd name="connsiteX48" fmla="*/ 8324847 w 11499847"/>
              <a:gd name="connsiteY48" fmla="*/ 2158717 h 2403475"/>
              <a:gd name="connsiteX49" fmla="*/ 8324847 w 11499847"/>
              <a:gd name="connsiteY49" fmla="*/ 1844675 h 2403475"/>
              <a:gd name="connsiteX50" fmla="*/ 7197722 w 11499847"/>
              <a:gd name="connsiteY50" fmla="*/ 1844675 h 2403475"/>
              <a:gd name="connsiteX51" fmla="*/ 7404196 w 11499847"/>
              <a:gd name="connsiteY51" fmla="*/ 1844675 h 2403475"/>
              <a:gd name="connsiteX52" fmla="*/ 7531336 w 11499847"/>
              <a:gd name="connsiteY52" fmla="*/ 1891906 h 2403475"/>
              <a:gd name="connsiteX53" fmla="*/ 7578727 w 11499847"/>
              <a:gd name="connsiteY53" fmla="*/ 2008937 h 2403475"/>
              <a:gd name="connsiteX54" fmla="*/ 7548455 w 11499847"/>
              <a:gd name="connsiteY54" fmla="*/ 2106950 h 2403475"/>
              <a:gd name="connsiteX55" fmla="*/ 7464947 w 11499847"/>
              <a:gd name="connsiteY55" fmla="*/ 2161495 h 2403475"/>
              <a:gd name="connsiteX56" fmla="*/ 7525699 w 11499847"/>
              <a:gd name="connsiteY56" fmla="*/ 2258673 h 2403475"/>
              <a:gd name="connsiteX57" fmla="*/ 7586660 w 11499847"/>
              <a:gd name="connsiteY57" fmla="*/ 2355850 h 2403475"/>
              <a:gd name="connsiteX58" fmla="*/ 7491044 w 11499847"/>
              <a:gd name="connsiteY58" fmla="*/ 2355850 h 2403475"/>
              <a:gd name="connsiteX59" fmla="*/ 7434676 w 11499847"/>
              <a:gd name="connsiteY59" fmla="*/ 2263479 h 2403475"/>
              <a:gd name="connsiteX60" fmla="*/ 7378099 w 11499847"/>
              <a:gd name="connsiteY60" fmla="*/ 2171108 h 2403475"/>
              <a:gd name="connsiteX61" fmla="*/ 7280395 w 11499847"/>
              <a:gd name="connsiteY61" fmla="*/ 2171108 h 2403475"/>
              <a:gd name="connsiteX62" fmla="*/ 7280395 w 11499847"/>
              <a:gd name="connsiteY62" fmla="*/ 2355850 h 2403475"/>
              <a:gd name="connsiteX63" fmla="*/ 7197722 w 11499847"/>
              <a:gd name="connsiteY63" fmla="*/ 2355850 h 2403475"/>
              <a:gd name="connsiteX64" fmla="*/ 7197722 w 11499847"/>
              <a:gd name="connsiteY64" fmla="*/ 1844675 h 2403475"/>
              <a:gd name="connsiteX65" fmla="*/ 7945016 w 11499847"/>
              <a:gd name="connsiteY65" fmla="*/ 1833563 h 2403475"/>
              <a:gd name="connsiteX66" fmla="*/ 8136527 w 11499847"/>
              <a:gd name="connsiteY66" fmla="*/ 1911974 h 2403475"/>
              <a:gd name="connsiteX67" fmla="*/ 8215310 w 11499847"/>
              <a:gd name="connsiteY67" fmla="*/ 2100368 h 2403475"/>
              <a:gd name="connsiteX68" fmla="*/ 8136527 w 11499847"/>
              <a:gd name="connsiteY68" fmla="*/ 2288762 h 2403475"/>
              <a:gd name="connsiteX69" fmla="*/ 7945016 w 11499847"/>
              <a:gd name="connsiteY69" fmla="*/ 2366963 h 2403475"/>
              <a:gd name="connsiteX70" fmla="*/ 7754134 w 11499847"/>
              <a:gd name="connsiteY70" fmla="*/ 2288762 h 2403475"/>
              <a:gd name="connsiteX71" fmla="*/ 7675560 w 11499847"/>
              <a:gd name="connsiteY71" fmla="*/ 2100368 h 2403475"/>
              <a:gd name="connsiteX72" fmla="*/ 7754134 w 11499847"/>
              <a:gd name="connsiteY72" fmla="*/ 1911974 h 2403475"/>
              <a:gd name="connsiteX73" fmla="*/ 7945016 w 11499847"/>
              <a:gd name="connsiteY73" fmla="*/ 1833563 h 2403475"/>
              <a:gd name="connsiteX74" fmla="*/ 6834872 w 11499847"/>
              <a:gd name="connsiteY74" fmla="*/ 1833563 h 2403475"/>
              <a:gd name="connsiteX75" fmla="*/ 6921875 w 11499847"/>
              <a:gd name="connsiteY75" fmla="*/ 1845482 h 2403475"/>
              <a:gd name="connsiteX76" fmla="*/ 6996090 w 11499847"/>
              <a:gd name="connsiteY76" fmla="*/ 1881028 h 2403475"/>
              <a:gd name="connsiteX77" fmla="*/ 6974496 w 11499847"/>
              <a:gd name="connsiteY77" fmla="*/ 1914692 h 2403475"/>
              <a:gd name="connsiteX78" fmla="*/ 6952903 w 11499847"/>
              <a:gd name="connsiteY78" fmla="*/ 1948356 h 2403475"/>
              <a:gd name="connsiteX79" fmla="*/ 6897556 w 11499847"/>
              <a:gd name="connsiteY79" fmla="*/ 1919501 h 2403475"/>
              <a:gd name="connsiteX80" fmla="*/ 6834243 w 11499847"/>
              <a:gd name="connsiteY80" fmla="*/ 1910301 h 2403475"/>
              <a:gd name="connsiteX81" fmla="*/ 6703424 w 11499847"/>
              <a:gd name="connsiteY81" fmla="*/ 1965084 h 2403475"/>
              <a:gd name="connsiteX82" fmla="*/ 6650384 w 11499847"/>
              <a:gd name="connsiteY82" fmla="*/ 2100368 h 2403475"/>
              <a:gd name="connsiteX83" fmla="*/ 6701957 w 11499847"/>
              <a:gd name="connsiteY83" fmla="*/ 2236070 h 2403475"/>
              <a:gd name="connsiteX84" fmla="*/ 6831308 w 11499847"/>
              <a:gd name="connsiteY84" fmla="*/ 2291062 h 2403475"/>
              <a:gd name="connsiteX85" fmla="*/ 6945984 w 11499847"/>
              <a:gd name="connsiteY85" fmla="*/ 2250498 h 2403475"/>
              <a:gd name="connsiteX86" fmla="*/ 6999863 w 11499847"/>
              <a:gd name="connsiteY86" fmla="*/ 2148460 h 2403475"/>
              <a:gd name="connsiteX87" fmla="*/ 6825438 w 11499847"/>
              <a:gd name="connsiteY87" fmla="*/ 2148460 h 2403475"/>
              <a:gd name="connsiteX88" fmla="*/ 6849128 w 11499847"/>
              <a:gd name="connsiteY88" fmla="*/ 2111241 h 2403475"/>
              <a:gd name="connsiteX89" fmla="*/ 6873028 w 11499847"/>
              <a:gd name="connsiteY89" fmla="*/ 2074022 h 2403475"/>
              <a:gd name="connsiteX90" fmla="*/ 7078061 w 11499847"/>
              <a:gd name="connsiteY90" fmla="*/ 2074022 h 2403475"/>
              <a:gd name="connsiteX91" fmla="*/ 7080787 w 11499847"/>
              <a:gd name="connsiteY91" fmla="*/ 2090540 h 2403475"/>
              <a:gd name="connsiteX92" fmla="*/ 7081835 w 11499847"/>
              <a:gd name="connsiteY92" fmla="*/ 2110613 h 2403475"/>
              <a:gd name="connsiteX93" fmla="*/ 7011813 w 11499847"/>
              <a:gd name="connsiteY93" fmla="*/ 2293362 h 2403475"/>
              <a:gd name="connsiteX94" fmla="*/ 6830470 w 11499847"/>
              <a:gd name="connsiteY94" fmla="*/ 2366963 h 2403475"/>
              <a:gd name="connsiteX95" fmla="*/ 6642417 w 11499847"/>
              <a:gd name="connsiteY95" fmla="*/ 2289389 h 2403475"/>
              <a:gd name="connsiteX96" fmla="*/ 6565897 w 11499847"/>
              <a:gd name="connsiteY96" fmla="*/ 2100368 h 2403475"/>
              <a:gd name="connsiteX97" fmla="*/ 6644514 w 11499847"/>
              <a:gd name="connsiteY97" fmla="*/ 1911346 h 2403475"/>
              <a:gd name="connsiteX98" fmla="*/ 6834872 w 11499847"/>
              <a:gd name="connsiteY98" fmla="*/ 1833563 h 2403475"/>
              <a:gd name="connsiteX99" fmla="*/ 501650 w 11499847"/>
              <a:gd name="connsiteY99" fmla="*/ 1403350 h 2403475"/>
              <a:gd name="connsiteX100" fmla="*/ 501650 w 11499847"/>
              <a:gd name="connsiteY100" fmla="*/ 1925638 h 2403475"/>
              <a:gd name="connsiteX101" fmla="*/ 842112 w 11499847"/>
              <a:gd name="connsiteY101" fmla="*/ 1925638 h 2403475"/>
              <a:gd name="connsiteX102" fmla="*/ 1182574 w 11499847"/>
              <a:gd name="connsiteY102" fmla="*/ 1925638 h 2403475"/>
              <a:gd name="connsiteX103" fmla="*/ 1375900 w 11499847"/>
              <a:gd name="connsiteY103" fmla="*/ 1849684 h 2403475"/>
              <a:gd name="connsiteX104" fmla="*/ 1455738 w 11499847"/>
              <a:gd name="connsiteY104" fmla="*/ 1662720 h 2403475"/>
              <a:gd name="connsiteX105" fmla="*/ 1375900 w 11499847"/>
              <a:gd name="connsiteY105" fmla="*/ 1477635 h 2403475"/>
              <a:gd name="connsiteX106" fmla="*/ 1182574 w 11499847"/>
              <a:gd name="connsiteY106" fmla="*/ 1403350 h 2403475"/>
              <a:gd name="connsiteX107" fmla="*/ 501650 w 11499847"/>
              <a:gd name="connsiteY107" fmla="*/ 1403350 h 2403475"/>
              <a:gd name="connsiteX108" fmla="*/ 7349808 w 11499847"/>
              <a:gd name="connsiteY108" fmla="*/ 1012825 h 2403475"/>
              <a:gd name="connsiteX109" fmla="*/ 7218292 w 11499847"/>
              <a:gd name="connsiteY109" fmla="*/ 1067952 h 2403475"/>
              <a:gd name="connsiteX110" fmla="*/ 7164385 w 11499847"/>
              <a:gd name="connsiteY110" fmla="*/ 1202427 h 2403475"/>
              <a:gd name="connsiteX111" fmla="*/ 7218292 w 11499847"/>
              <a:gd name="connsiteY111" fmla="*/ 1336903 h 2403475"/>
              <a:gd name="connsiteX112" fmla="*/ 7349808 w 11499847"/>
              <a:gd name="connsiteY112" fmla="*/ 1392238 h 2403475"/>
              <a:gd name="connsiteX113" fmla="*/ 7481953 w 11499847"/>
              <a:gd name="connsiteY113" fmla="*/ 1337320 h 2403475"/>
              <a:gd name="connsiteX114" fmla="*/ 7535860 w 11499847"/>
              <a:gd name="connsiteY114" fmla="*/ 1202427 h 2403475"/>
              <a:gd name="connsiteX115" fmla="*/ 7481534 w 11499847"/>
              <a:gd name="connsiteY115" fmla="*/ 1067952 h 2403475"/>
              <a:gd name="connsiteX116" fmla="*/ 7349808 w 11499847"/>
              <a:gd name="connsiteY116" fmla="*/ 1012825 h 2403475"/>
              <a:gd name="connsiteX117" fmla="*/ 10448922 w 11499847"/>
              <a:gd name="connsiteY117" fmla="*/ 946150 h 2403475"/>
              <a:gd name="connsiteX118" fmla="*/ 10552110 w 11499847"/>
              <a:gd name="connsiteY118" fmla="*/ 946150 h 2403475"/>
              <a:gd name="connsiteX119" fmla="*/ 10671172 w 11499847"/>
              <a:gd name="connsiteY119" fmla="*/ 1139825 h 2403475"/>
              <a:gd name="connsiteX120" fmla="*/ 10790235 w 11499847"/>
              <a:gd name="connsiteY120" fmla="*/ 1333501 h 2403475"/>
              <a:gd name="connsiteX121" fmla="*/ 10790235 w 11499847"/>
              <a:gd name="connsiteY121" fmla="*/ 946150 h 2403475"/>
              <a:gd name="connsiteX122" fmla="*/ 10869610 w 11499847"/>
              <a:gd name="connsiteY122" fmla="*/ 946150 h 2403475"/>
              <a:gd name="connsiteX123" fmla="*/ 10869610 w 11499847"/>
              <a:gd name="connsiteY123" fmla="*/ 1458913 h 2403475"/>
              <a:gd name="connsiteX124" fmla="*/ 10772772 w 11499847"/>
              <a:gd name="connsiteY124" fmla="*/ 1458913 h 2403475"/>
              <a:gd name="connsiteX125" fmla="*/ 10650535 w 11499847"/>
              <a:gd name="connsiteY125" fmla="*/ 1260475 h 2403475"/>
              <a:gd name="connsiteX126" fmla="*/ 10528297 w 11499847"/>
              <a:gd name="connsiteY126" fmla="*/ 1062038 h 2403475"/>
              <a:gd name="connsiteX127" fmla="*/ 10528297 w 11499847"/>
              <a:gd name="connsiteY127" fmla="*/ 1458913 h 2403475"/>
              <a:gd name="connsiteX128" fmla="*/ 10448922 w 11499847"/>
              <a:gd name="connsiteY128" fmla="*/ 1458913 h 2403475"/>
              <a:gd name="connsiteX129" fmla="*/ 10185397 w 11499847"/>
              <a:gd name="connsiteY129" fmla="*/ 946150 h 2403475"/>
              <a:gd name="connsiteX130" fmla="*/ 10267947 w 11499847"/>
              <a:gd name="connsiteY130" fmla="*/ 946150 h 2403475"/>
              <a:gd name="connsiteX131" fmla="*/ 10267947 w 11499847"/>
              <a:gd name="connsiteY131" fmla="*/ 1458913 h 2403475"/>
              <a:gd name="connsiteX132" fmla="*/ 10185397 w 11499847"/>
              <a:gd name="connsiteY132" fmla="*/ 1458913 h 2403475"/>
              <a:gd name="connsiteX133" fmla="*/ 9656760 w 11499847"/>
              <a:gd name="connsiteY133" fmla="*/ 946150 h 2403475"/>
              <a:gd name="connsiteX134" fmla="*/ 10059985 w 11499847"/>
              <a:gd name="connsiteY134" fmla="*/ 946150 h 2403475"/>
              <a:gd name="connsiteX135" fmla="*/ 10059985 w 11499847"/>
              <a:gd name="connsiteY135" fmla="*/ 1022350 h 2403475"/>
              <a:gd name="connsiteX136" fmla="*/ 9899648 w 11499847"/>
              <a:gd name="connsiteY136" fmla="*/ 1022350 h 2403475"/>
              <a:gd name="connsiteX137" fmla="*/ 9899648 w 11499847"/>
              <a:gd name="connsiteY137" fmla="*/ 1458913 h 2403475"/>
              <a:gd name="connsiteX138" fmla="*/ 9817098 w 11499847"/>
              <a:gd name="connsiteY138" fmla="*/ 1458913 h 2403475"/>
              <a:gd name="connsiteX139" fmla="*/ 9817098 w 11499847"/>
              <a:gd name="connsiteY139" fmla="*/ 1022350 h 2403475"/>
              <a:gd name="connsiteX140" fmla="*/ 9656760 w 11499847"/>
              <a:gd name="connsiteY140" fmla="*/ 1022350 h 2403475"/>
              <a:gd name="connsiteX141" fmla="*/ 9336085 w 11499847"/>
              <a:gd name="connsiteY141" fmla="*/ 946150 h 2403475"/>
              <a:gd name="connsiteX142" fmla="*/ 9418635 w 11499847"/>
              <a:gd name="connsiteY142" fmla="*/ 946150 h 2403475"/>
              <a:gd name="connsiteX143" fmla="*/ 9418635 w 11499847"/>
              <a:gd name="connsiteY143" fmla="*/ 1382713 h 2403475"/>
              <a:gd name="connsiteX144" fmla="*/ 9671048 w 11499847"/>
              <a:gd name="connsiteY144" fmla="*/ 1382713 h 2403475"/>
              <a:gd name="connsiteX145" fmla="*/ 9671048 w 11499847"/>
              <a:gd name="connsiteY145" fmla="*/ 1458913 h 2403475"/>
              <a:gd name="connsiteX146" fmla="*/ 9336085 w 11499847"/>
              <a:gd name="connsiteY146" fmla="*/ 1458913 h 2403475"/>
              <a:gd name="connsiteX147" fmla="*/ 8766172 w 11499847"/>
              <a:gd name="connsiteY147" fmla="*/ 946150 h 2403475"/>
              <a:gd name="connsiteX148" fmla="*/ 8848414 w 11499847"/>
              <a:gd name="connsiteY148" fmla="*/ 946150 h 2403475"/>
              <a:gd name="connsiteX149" fmla="*/ 8848414 w 11499847"/>
              <a:gd name="connsiteY149" fmla="*/ 1260391 h 2403475"/>
              <a:gd name="connsiteX150" fmla="*/ 8883900 w 11499847"/>
              <a:gd name="connsiteY150" fmla="*/ 1355146 h 2403475"/>
              <a:gd name="connsiteX151" fmla="*/ 8978249 w 11499847"/>
              <a:gd name="connsiteY151" fmla="*/ 1393718 h 2403475"/>
              <a:gd name="connsiteX152" fmla="*/ 9071972 w 11499847"/>
              <a:gd name="connsiteY152" fmla="*/ 1355146 h 2403475"/>
              <a:gd name="connsiteX153" fmla="*/ 9107457 w 11499847"/>
              <a:gd name="connsiteY153" fmla="*/ 1260391 h 2403475"/>
              <a:gd name="connsiteX154" fmla="*/ 9107457 w 11499847"/>
              <a:gd name="connsiteY154" fmla="*/ 946150 h 2403475"/>
              <a:gd name="connsiteX155" fmla="*/ 9188447 w 11499847"/>
              <a:gd name="connsiteY155" fmla="*/ 946150 h 2403475"/>
              <a:gd name="connsiteX156" fmla="*/ 9188447 w 11499847"/>
              <a:gd name="connsiteY156" fmla="*/ 1261230 h 2403475"/>
              <a:gd name="connsiteX157" fmla="*/ 9128539 w 11499847"/>
              <a:gd name="connsiteY157" fmla="*/ 1410489 h 2403475"/>
              <a:gd name="connsiteX158" fmla="*/ 8977623 w 11499847"/>
              <a:gd name="connsiteY158" fmla="*/ 1470025 h 2403475"/>
              <a:gd name="connsiteX159" fmla="*/ 8826497 w 11499847"/>
              <a:gd name="connsiteY159" fmla="*/ 1410489 h 2403475"/>
              <a:gd name="connsiteX160" fmla="*/ 8766172 w 11499847"/>
              <a:gd name="connsiteY160" fmla="*/ 1261230 h 2403475"/>
              <a:gd name="connsiteX161" fmla="*/ 8766172 w 11499847"/>
              <a:gd name="connsiteY161" fmla="*/ 946150 h 2403475"/>
              <a:gd name="connsiteX162" fmla="*/ 7737472 w 11499847"/>
              <a:gd name="connsiteY162" fmla="*/ 946150 h 2403475"/>
              <a:gd name="connsiteX163" fmla="*/ 7839072 w 11499847"/>
              <a:gd name="connsiteY163" fmla="*/ 946150 h 2403475"/>
              <a:gd name="connsiteX164" fmla="*/ 7958134 w 11499847"/>
              <a:gd name="connsiteY164" fmla="*/ 1139825 h 2403475"/>
              <a:gd name="connsiteX165" fmla="*/ 8077197 w 11499847"/>
              <a:gd name="connsiteY165" fmla="*/ 1333501 h 2403475"/>
              <a:gd name="connsiteX166" fmla="*/ 8077197 w 11499847"/>
              <a:gd name="connsiteY166" fmla="*/ 946150 h 2403475"/>
              <a:gd name="connsiteX167" fmla="*/ 8156572 w 11499847"/>
              <a:gd name="connsiteY167" fmla="*/ 946150 h 2403475"/>
              <a:gd name="connsiteX168" fmla="*/ 8156572 w 11499847"/>
              <a:gd name="connsiteY168" fmla="*/ 1458913 h 2403475"/>
              <a:gd name="connsiteX169" fmla="*/ 8061322 w 11499847"/>
              <a:gd name="connsiteY169" fmla="*/ 1458913 h 2403475"/>
              <a:gd name="connsiteX170" fmla="*/ 7939084 w 11499847"/>
              <a:gd name="connsiteY170" fmla="*/ 1260475 h 2403475"/>
              <a:gd name="connsiteX171" fmla="*/ 7815259 w 11499847"/>
              <a:gd name="connsiteY171" fmla="*/ 1062038 h 2403475"/>
              <a:gd name="connsiteX172" fmla="*/ 7815259 w 11499847"/>
              <a:gd name="connsiteY172" fmla="*/ 1458913 h 2403475"/>
              <a:gd name="connsiteX173" fmla="*/ 7737472 w 11499847"/>
              <a:gd name="connsiteY173" fmla="*/ 1458913 h 2403475"/>
              <a:gd name="connsiteX174" fmla="*/ 11253544 w 11499847"/>
              <a:gd name="connsiteY174" fmla="*/ 936625 h 2403475"/>
              <a:gd name="connsiteX175" fmla="*/ 11340315 w 11499847"/>
              <a:gd name="connsiteY175" fmla="*/ 948334 h 2403475"/>
              <a:gd name="connsiteX176" fmla="*/ 11414331 w 11499847"/>
              <a:gd name="connsiteY176" fmla="*/ 984090 h 2403475"/>
              <a:gd name="connsiteX177" fmla="*/ 11392795 w 11499847"/>
              <a:gd name="connsiteY177" fmla="*/ 1017545 h 2403475"/>
              <a:gd name="connsiteX178" fmla="*/ 11371260 w 11499847"/>
              <a:gd name="connsiteY178" fmla="*/ 1051209 h 2403475"/>
              <a:gd name="connsiteX179" fmla="*/ 11316270 w 11499847"/>
              <a:gd name="connsiteY179" fmla="*/ 1022354 h 2403475"/>
              <a:gd name="connsiteX180" fmla="*/ 11252917 w 11499847"/>
              <a:gd name="connsiteY180" fmla="*/ 1013363 h 2403475"/>
              <a:gd name="connsiteX181" fmla="*/ 11122657 w 11499847"/>
              <a:gd name="connsiteY181" fmla="*/ 1067936 h 2403475"/>
              <a:gd name="connsiteX182" fmla="*/ 11069549 w 11499847"/>
              <a:gd name="connsiteY182" fmla="*/ 1203221 h 2403475"/>
              <a:gd name="connsiteX183" fmla="*/ 11120984 w 11499847"/>
              <a:gd name="connsiteY183" fmla="*/ 1338923 h 2403475"/>
              <a:gd name="connsiteX184" fmla="*/ 11249990 w 11499847"/>
              <a:gd name="connsiteY184" fmla="*/ 1394124 h 2403475"/>
              <a:gd name="connsiteX185" fmla="*/ 11364360 w 11499847"/>
              <a:gd name="connsiteY185" fmla="*/ 1353350 h 2403475"/>
              <a:gd name="connsiteX186" fmla="*/ 11418095 w 11499847"/>
              <a:gd name="connsiteY186" fmla="*/ 1251521 h 2403475"/>
              <a:gd name="connsiteX187" fmla="*/ 11244136 w 11499847"/>
              <a:gd name="connsiteY187" fmla="*/ 1251521 h 2403475"/>
              <a:gd name="connsiteX188" fmla="*/ 11267971 w 11499847"/>
              <a:gd name="connsiteY188" fmla="*/ 1214303 h 2403475"/>
              <a:gd name="connsiteX189" fmla="*/ 11291598 w 11499847"/>
              <a:gd name="connsiteY189" fmla="*/ 1177084 h 2403475"/>
              <a:gd name="connsiteX190" fmla="*/ 11496083 w 11499847"/>
              <a:gd name="connsiteY190" fmla="*/ 1177084 h 2403475"/>
              <a:gd name="connsiteX191" fmla="*/ 11498802 w 11499847"/>
              <a:gd name="connsiteY191" fmla="*/ 1193393 h 2403475"/>
              <a:gd name="connsiteX192" fmla="*/ 11499847 w 11499847"/>
              <a:gd name="connsiteY192" fmla="*/ 1213466 h 2403475"/>
              <a:gd name="connsiteX193" fmla="*/ 11430222 w 11499847"/>
              <a:gd name="connsiteY193" fmla="*/ 1396215 h 2403475"/>
              <a:gd name="connsiteX194" fmla="*/ 11249154 w 11499847"/>
              <a:gd name="connsiteY194" fmla="*/ 1470025 h 2403475"/>
              <a:gd name="connsiteX195" fmla="*/ 11061813 w 11499847"/>
              <a:gd name="connsiteY195" fmla="*/ 1392242 h 2403475"/>
              <a:gd name="connsiteX196" fmla="*/ 10985497 w 11499847"/>
              <a:gd name="connsiteY196" fmla="*/ 1203221 h 2403475"/>
              <a:gd name="connsiteX197" fmla="*/ 11063695 w 11499847"/>
              <a:gd name="connsiteY197" fmla="*/ 1014408 h 2403475"/>
              <a:gd name="connsiteX198" fmla="*/ 11253544 w 11499847"/>
              <a:gd name="connsiteY198" fmla="*/ 936625 h 2403475"/>
              <a:gd name="connsiteX199" fmla="*/ 8471697 w 11499847"/>
              <a:gd name="connsiteY199" fmla="*/ 936625 h 2403475"/>
              <a:gd name="connsiteX200" fmla="*/ 8556850 w 11499847"/>
              <a:gd name="connsiteY200" fmla="*/ 949798 h 2403475"/>
              <a:gd name="connsiteX201" fmla="*/ 8626729 w 11499847"/>
              <a:gd name="connsiteY201" fmla="*/ 984717 h 2403475"/>
              <a:gd name="connsiteX202" fmla="*/ 8606225 w 11499847"/>
              <a:gd name="connsiteY202" fmla="*/ 1017336 h 2403475"/>
              <a:gd name="connsiteX203" fmla="*/ 8585722 w 11499847"/>
              <a:gd name="connsiteY203" fmla="*/ 1049745 h 2403475"/>
              <a:gd name="connsiteX204" fmla="*/ 8528605 w 11499847"/>
              <a:gd name="connsiteY204" fmla="*/ 1021099 h 2403475"/>
              <a:gd name="connsiteX205" fmla="*/ 8471070 w 11499847"/>
              <a:gd name="connsiteY205" fmla="*/ 1011063 h 2403475"/>
              <a:gd name="connsiteX206" fmla="*/ 8404328 w 11499847"/>
              <a:gd name="connsiteY206" fmla="*/ 1032181 h 2403475"/>
              <a:gd name="connsiteX207" fmla="*/ 8382570 w 11499847"/>
              <a:gd name="connsiteY207" fmla="*/ 1084246 h 2403475"/>
              <a:gd name="connsiteX208" fmla="*/ 8412697 w 11499847"/>
              <a:gd name="connsiteY208" fmla="*/ 1135474 h 2403475"/>
              <a:gd name="connsiteX209" fmla="*/ 8493038 w 11499847"/>
              <a:gd name="connsiteY209" fmla="*/ 1165165 h 2403475"/>
              <a:gd name="connsiteX210" fmla="*/ 8600786 w 11499847"/>
              <a:gd name="connsiteY210" fmla="*/ 1212421 h 2403475"/>
              <a:gd name="connsiteX211" fmla="*/ 8648697 w 11499847"/>
              <a:gd name="connsiteY211" fmla="*/ 1314250 h 2403475"/>
              <a:gd name="connsiteX212" fmla="*/ 8601413 w 11499847"/>
              <a:gd name="connsiteY212" fmla="*/ 1425906 h 2403475"/>
              <a:gd name="connsiteX213" fmla="*/ 8468140 w 11499847"/>
              <a:gd name="connsiteY213" fmla="*/ 1470025 h 2403475"/>
              <a:gd name="connsiteX214" fmla="*/ 8363531 w 11499847"/>
              <a:gd name="connsiteY214" fmla="*/ 1452461 h 2403475"/>
              <a:gd name="connsiteX215" fmla="*/ 8286747 w 11499847"/>
              <a:gd name="connsiteY215" fmla="*/ 1411479 h 2403475"/>
              <a:gd name="connsiteX216" fmla="*/ 8307251 w 11499847"/>
              <a:gd name="connsiteY216" fmla="*/ 1379069 h 2403475"/>
              <a:gd name="connsiteX217" fmla="*/ 8327754 w 11499847"/>
              <a:gd name="connsiteY217" fmla="*/ 1346450 h 2403475"/>
              <a:gd name="connsiteX218" fmla="*/ 8395541 w 11499847"/>
              <a:gd name="connsiteY218" fmla="*/ 1381578 h 2403475"/>
              <a:gd name="connsiteX219" fmla="*/ 8468768 w 11499847"/>
              <a:gd name="connsiteY219" fmla="*/ 1395378 h 2403475"/>
              <a:gd name="connsiteX220" fmla="*/ 8541367 w 11499847"/>
              <a:gd name="connsiteY220" fmla="*/ 1373633 h 2403475"/>
              <a:gd name="connsiteX221" fmla="*/ 8566055 w 11499847"/>
              <a:gd name="connsiteY221" fmla="*/ 1319477 h 2403475"/>
              <a:gd name="connsiteX222" fmla="*/ 8535509 w 11499847"/>
              <a:gd name="connsiteY222" fmla="*/ 1268458 h 2403475"/>
              <a:gd name="connsiteX223" fmla="*/ 8455587 w 11499847"/>
              <a:gd name="connsiteY223" fmla="*/ 1238348 h 2403475"/>
              <a:gd name="connsiteX224" fmla="*/ 8347630 w 11499847"/>
              <a:gd name="connsiteY224" fmla="*/ 1191511 h 2403475"/>
              <a:gd name="connsiteX225" fmla="*/ 8299928 w 11499847"/>
              <a:gd name="connsiteY225" fmla="*/ 1089264 h 2403475"/>
              <a:gd name="connsiteX226" fmla="*/ 8345329 w 11499847"/>
              <a:gd name="connsiteY226" fmla="*/ 979489 h 2403475"/>
              <a:gd name="connsiteX227" fmla="*/ 8471697 w 11499847"/>
              <a:gd name="connsiteY227" fmla="*/ 936625 h 2403475"/>
              <a:gd name="connsiteX228" fmla="*/ 7349808 w 11499847"/>
              <a:gd name="connsiteY228" fmla="*/ 936625 h 2403475"/>
              <a:gd name="connsiteX229" fmla="*/ 7541183 w 11499847"/>
              <a:gd name="connsiteY229" fmla="*/ 1014826 h 2403475"/>
              <a:gd name="connsiteX230" fmla="*/ 7619997 w 11499847"/>
              <a:gd name="connsiteY230" fmla="*/ 1203221 h 2403475"/>
              <a:gd name="connsiteX231" fmla="*/ 7541183 w 11499847"/>
              <a:gd name="connsiteY231" fmla="*/ 1391615 h 2403475"/>
              <a:gd name="connsiteX232" fmla="*/ 7349808 w 11499847"/>
              <a:gd name="connsiteY232" fmla="*/ 1470025 h 2403475"/>
              <a:gd name="connsiteX233" fmla="*/ 7158642 w 11499847"/>
              <a:gd name="connsiteY233" fmla="*/ 1391615 h 2403475"/>
              <a:gd name="connsiteX234" fmla="*/ 7080247 w 11499847"/>
              <a:gd name="connsiteY234" fmla="*/ 1203221 h 2403475"/>
              <a:gd name="connsiteX235" fmla="*/ 7158642 w 11499847"/>
              <a:gd name="connsiteY235" fmla="*/ 1014826 h 2403475"/>
              <a:gd name="connsiteX236" fmla="*/ 7349808 w 11499847"/>
              <a:gd name="connsiteY236" fmla="*/ 936625 h 2403475"/>
              <a:gd name="connsiteX237" fmla="*/ 6837427 w 11499847"/>
              <a:gd name="connsiteY237" fmla="*/ 936625 h 2403475"/>
              <a:gd name="connsiteX238" fmla="*/ 6932756 w 11499847"/>
              <a:gd name="connsiteY238" fmla="*/ 951680 h 2403475"/>
              <a:gd name="connsiteX239" fmla="*/ 7008810 w 11499847"/>
              <a:gd name="connsiteY239" fmla="*/ 993499 h 2403475"/>
              <a:gd name="connsiteX240" fmla="*/ 6987439 w 11499847"/>
              <a:gd name="connsiteY240" fmla="*/ 1026745 h 2403475"/>
              <a:gd name="connsiteX241" fmla="*/ 6966278 w 11499847"/>
              <a:gd name="connsiteY241" fmla="*/ 1059991 h 2403475"/>
              <a:gd name="connsiteX242" fmla="*/ 6904891 w 11499847"/>
              <a:gd name="connsiteY242" fmla="*/ 1024863 h 2403475"/>
              <a:gd name="connsiteX243" fmla="*/ 6833027 w 11499847"/>
              <a:gd name="connsiteY243" fmla="*/ 1012526 h 2403475"/>
              <a:gd name="connsiteX244" fmla="*/ 6703338 w 11499847"/>
              <a:gd name="connsiteY244" fmla="*/ 1067727 h 2403475"/>
              <a:gd name="connsiteX245" fmla="*/ 6649912 w 11499847"/>
              <a:gd name="connsiteY245" fmla="*/ 1203221 h 2403475"/>
              <a:gd name="connsiteX246" fmla="*/ 6703338 w 11499847"/>
              <a:gd name="connsiteY246" fmla="*/ 1338923 h 2403475"/>
              <a:gd name="connsiteX247" fmla="*/ 6833027 w 11499847"/>
              <a:gd name="connsiteY247" fmla="*/ 1393915 h 2403475"/>
              <a:gd name="connsiteX248" fmla="*/ 6904891 w 11499847"/>
              <a:gd name="connsiteY248" fmla="*/ 1381787 h 2403475"/>
              <a:gd name="connsiteX249" fmla="*/ 6966278 w 11499847"/>
              <a:gd name="connsiteY249" fmla="*/ 1346450 h 2403475"/>
              <a:gd name="connsiteX250" fmla="*/ 6987439 w 11499847"/>
              <a:gd name="connsiteY250" fmla="*/ 1379696 h 2403475"/>
              <a:gd name="connsiteX251" fmla="*/ 7008810 w 11499847"/>
              <a:gd name="connsiteY251" fmla="*/ 1412942 h 2403475"/>
              <a:gd name="connsiteX252" fmla="*/ 6932756 w 11499847"/>
              <a:gd name="connsiteY252" fmla="*/ 1454970 h 2403475"/>
              <a:gd name="connsiteX253" fmla="*/ 6837427 w 11499847"/>
              <a:gd name="connsiteY253" fmla="*/ 1470025 h 2403475"/>
              <a:gd name="connsiteX254" fmla="*/ 6644674 w 11499847"/>
              <a:gd name="connsiteY254" fmla="*/ 1392242 h 2403475"/>
              <a:gd name="connsiteX255" fmla="*/ 6565897 w 11499847"/>
              <a:gd name="connsiteY255" fmla="*/ 1203221 h 2403475"/>
              <a:gd name="connsiteX256" fmla="*/ 6644674 w 11499847"/>
              <a:gd name="connsiteY256" fmla="*/ 1014408 h 2403475"/>
              <a:gd name="connsiteX257" fmla="*/ 6837427 w 11499847"/>
              <a:gd name="connsiteY257" fmla="*/ 936625 h 2403475"/>
              <a:gd name="connsiteX258" fmla="*/ 501650 w 11499847"/>
              <a:gd name="connsiteY258" fmla="*/ 477838 h 2403475"/>
              <a:gd name="connsiteX259" fmla="*/ 501650 w 11499847"/>
              <a:gd name="connsiteY259" fmla="*/ 981076 h 2403475"/>
              <a:gd name="connsiteX260" fmla="*/ 786010 w 11499847"/>
              <a:gd name="connsiteY260" fmla="*/ 981076 h 2403475"/>
              <a:gd name="connsiteX261" fmla="*/ 1070579 w 11499847"/>
              <a:gd name="connsiteY261" fmla="*/ 981076 h 2403475"/>
              <a:gd name="connsiteX262" fmla="*/ 1253188 w 11499847"/>
              <a:gd name="connsiteY262" fmla="*/ 908588 h 2403475"/>
              <a:gd name="connsiteX263" fmla="*/ 1327150 w 11499847"/>
              <a:gd name="connsiteY263" fmla="*/ 727681 h 2403475"/>
              <a:gd name="connsiteX264" fmla="*/ 1253188 w 11499847"/>
              <a:gd name="connsiteY264" fmla="*/ 548446 h 2403475"/>
              <a:gd name="connsiteX265" fmla="*/ 1070579 w 11499847"/>
              <a:gd name="connsiteY265" fmla="*/ 477838 h 2403475"/>
              <a:gd name="connsiteX266" fmla="*/ 501650 w 11499847"/>
              <a:gd name="connsiteY266" fmla="*/ 477838 h 2403475"/>
              <a:gd name="connsiteX267" fmla="*/ 6675435 w 11499847"/>
              <a:gd name="connsiteY267" fmla="*/ 336550 h 2403475"/>
              <a:gd name="connsiteX268" fmla="*/ 6675435 w 11499847"/>
              <a:gd name="connsiteY268" fmla="*/ 487363 h 2403475"/>
              <a:gd name="connsiteX269" fmla="*/ 6808467 w 11499847"/>
              <a:gd name="connsiteY269" fmla="*/ 487363 h 2403475"/>
              <a:gd name="connsiteX270" fmla="*/ 6865570 w 11499847"/>
              <a:gd name="connsiteY270" fmla="*/ 465370 h 2403475"/>
              <a:gd name="connsiteX271" fmla="*/ 6888160 w 11499847"/>
              <a:gd name="connsiteY271" fmla="*/ 411957 h 2403475"/>
              <a:gd name="connsiteX272" fmla="*/ 6865570 w 11499847"/>
              <a:gd name="connsiteY272" fmla="*/ 358334 h 2403475"/>
              <a:gd name="connsiteX273" fmla="*/ 6808467 w 11499847"/>
              <a:gd name="connsiteY273" fmla="*/ 336550 h 2403475"/>
              <a:gd name="connsiteX274" fmla="*/ 6675435 w 11499847"/>
              <a:gd name="connsiteY274" fmla="*/ 336550 h 2403475"/>
              <a:gd name="connsiteX275" fmla="*/ 6675435 w 11499847"/>
              <a:gd name="connsiteY275" fmla="*/ 122238 h 2403475"/>
              <a:gd name="connsiteX276" fmla="*/ 6675435 w 11499847"/>
              <a:gd name="connsiteY276" fmla="*/ 265113 h 2403475"/>
              <a:gd name="connsiteX277" fmla="*/ 6795279 w 11499847"/>
              <a:gd name="connsiteY277" fmla="*/ 265113 h 2403475"/>
              <a:gd name="connsiteX278" fmla="*/ 6848404 w 11499847"/>
              <a:gd name="connsiteY278" fmla="*/ 244673 h 2403475"/>
              <a:gd name="connsiteX279" fmla="*/ 6869110 w 11499847"/>
              <a:gd name="connsiteY279" fmla="*/ 193571 h 2403475"/>
              <a:gd name="connsiteX280" fmla="*/ 6848404 w 11499847"/>
              <a:gd name="connsiteY280" fmla="*/ 142679 h 2403475"/>
              <a:gd name="connsiteX281" fmla="*/ 6795279 w 11499847"/>
              <a:gd name="connsiteY281" fmla="*/ 122238 h 2403475"/>
              <a:gd name="connsiteX282" fmla="*/ 6675435 w 11499847"/>
              <a:gd name="connsiteY282" fmla="*/ 122238 h 2403475"/>
              <a:gd name="connsiteX283" fmla="*/ 8850791 w 11499847"/>
              <a:gd name="connsiteY283" fmla="*/ 114300 h 2403475"/>
              <a:gd name="connsiteX284" fmla="*/ 8719837 w 11499847"/>
              <a:gd name="connsiteY284" fmla="*/ 169657 h 2403475"/>
              <a:gd name="connsiteX285" fmla="*/ 8666160 w 11499847"/>
              <a:gd name="connsiteY285" fmla="*/ 304905 h 2403475"/>
              <a:gd name="connsiteX286" fmla="*/ 8719837 w 11499847"/>
              <a:gd name="connsiteY286" fmla="*/ 439943 h 2403475"/>
              <a:gd name="connsiteX287" fmla="*/ 8850791 w 11499847"/>
              <a:gd name="connsiteY287" fmla="*/ 495300 h 2403475"/>
              <a:gd name="connsiteX288" fmla="*/ 8982163 w 11499847"/>
              <a:gd name="connsiteY288" fmla="*/ 440153 h 2403475"/>
              <a:gd name="connsiteX289" fmla="*/ 9036048 w 11499847"/>
              <a:gd name="connsiteY289" fmla="*/ 304905 h 2403475"/>
              <a:gd name="connsiteX290" fmla="*/ 8981954 w 11499847"/>
              <a:gd name="connsiteY290" fmla="*/ 169657 h 2403475"/>
              <a:gd name="connsiteX291" fmla="*/ 8850791 w 11499847"/>
              <a:gd name="connsiteY291" fmla="*/ 114300 h 2403475"/>
              <a:gd name="connsiteX292" fmla="*/ 7335415 w 11499847"/>
              <a:gd name="connsiteY292" fmla="*/ 114300 h 2403475"/>
              <a:gd name="connsiteX293" fmla="*/ 7203974 w 11499847"/>
              <a:gd name="connsiteY293" fmla="*/ 169657 h 2403475"/>
              <a:gd name="connsiteX294" fmla="*/ 7150097 w 11499847"/>
              <a:gd name="connsiteY294" fmla="*/ 304905 h 2403475"/>
              <a:gd name="connsiteX295" fmla="*/ 7203974 w 11499847"/>
              <a:gd name="connsiteY295" fmla="*/ 439943 h 2403475"/>
              <a:gd name="connsiteX296" fmla="*/ 7335415 w 11499847"/>
              <a:gd name="connsiteY296" fmla="*/ 495300 h 2403475"/>
              <a:gd name="connsiteX297" fmla="*/ 7467486 w 11499847"/>
              <a:gd name="connsiteY297" fmla="*/ 440153 h 2403475"/>
              <a:gd name="connsiteX298" fmla="*/ 7521572 w 11499847"/>
              <a:gd name="connsiteY298" fmla="*/ 304905 h 2403475"/>
              <a:gd name="connsiteX299" fmla="*/ 7467067 w 11499847"/>
              <a:gd name="connsiteY299" fmla="*/ 169657 h 2403475"/>
              <a:gd name="connsiteX300" fmla="*/ 7335415 w 11499847"/>
              <a:gd name="connsiteY300" fmla="*/ 114300 h 2403475"/>
              <a:gd name="connsiteX301" fmla="*/ 9237660 w 11499847"/>
              <a:gd name="connsiteY301" fmla="*/ 49213 h 2403475"/>
              <a:gd name="connsiteX302" fmla="*/ 9339260 w 11499847"/>
              <a:gd name="connsiteY302" fmla="*/ 49213 h 2403475"/>
              <a:gd name="connsiteX303" fmla="*/ 9458322 w 11499847"/>
              <a:gd name="connsiteY303" fmla="*/ 242888 h 2403475"/>
              <a:gd name="connsiteX304" fmla="*/ 9578972 w 11499847"/>
              <a:gd name="connsiteY304" fmla="*/ 436563 h 2403475"/>
              <a:gd name="connsiteX305" fmla="*/ 9578972 w 11499847"/>
              <a:gd name="connsiteY305" fmla="*/ 49213 h 2403475"/>
              <a:gd name="connsiteX306" fmla="*/ 9656760 w 11499847"/>
              <a:gd name="connsiteY306" fmla="*/ 49213 h 2403475"/>
              <a:gd name="connsiteX307" fmla="*/ 9656760 w 11499847"/>
              <a:gd name="connsiteY307" fmla="*/ 560388 h 2403475"/>
              <a:gd name="connsiteX308" fmla="*/ 9561510 w 11499847"/>
              <a:gd name="connsiteY308" fmla="*/ 560388 h 2403475"/>
              <a:gd name="connsiteX309" fmla="*/ 9439272 w 11499847"/>
              <a:gd name="connsiteY309" fmla="*/ 363538 h 2403475"/>
              <a:gd name="connsiteX310" fmla="*/ 9317035 w 11499847"/>
              <a:gd name="connsiteY310" fmla="*/ 165101 h 2403475"/>
              <a:gd name="connsiteX311" fmla="*/ 9317035 w 11499847"/>
              <a:gd name="connsiteY311" fmla="*/ 560388 h 2403475"/>
              <a:gd name="connsiteX312" fmla="*/ 9237660 w 11499847"/>
              <a:gd name="connsiteY312" fmla="*/ 560388 h 2403475"/>
              <a:gd name="connsiteX313" fmla="*/ 8126410 w 11499847"/>
              <a:gd name="connsiteY313" fmla="*/ 49213 h 2403475"/>
              <a:gd name="connsiteX314" fmla="*/ 8529635 w 11499847"/>
              <a:gd name="connsiteY314" fmla="*/ 49213 h 2403475"/>
              <a:gd name="connsiteX315" fmla="*/ 8529635 w 11499847"/>
              <a:gd name="connsiteY315" fmla="*/ 125413 h 2403475"/>
              <a:gd name="connsiteX316" fmla="*/ 8369298 w 11499847"/>
              <a:gd name="connsiteY316" fmla="*/ 125413 h 2403475"/>
              <a:gd name="connsiteX317" fmla="*/ 8369298 w 11499847"/>
              <a:gd name="connsiteY317" fmla="*/ 560388 h 2403475"/>
              <a:gd name="connsiteX318" fmla="*/ 8285160 w 11499847"/>
              <a:gd name="connsiteY318" fmla="*/ 560388 h 2403475"/>
              <a:gd name="connsiteX319" fmla="*/ 8285160 w 11499847"/>
              <a:gd name="connsiteY319" fmla="*/ 125413 h 2403475"/>
              <a:gd name="connsiteX320" fmla="*/ 8126410 w 11499847"/>
              <a:gd name="connsiteY320" fmla="*/ 125413 h 2403475"/>
              <a:gd name="connsiteX321" fmla="*/ 6592885 w 11499847"/>
              <a:gd name="connsiteY321" fmla="*/ 49213 h 2403475"/>
              <a:gd name="connsiteX322" fmla="*/ 6795851 w 11499847"/>
              <a:gd name="connsiteY322" fmla="*/ 49213 h 2403475"/>
              <a:gd name="connsiteX323" fmla="*/ 6907775 w 11499847"/>
              <a:gd name="connsiteY323" fmla="*/ 87875 h 2403475"/>
              <a:gd name="connsiteX324" fmla="*/ 6952670 w 11499847"/>
              <a:gd name="connsiteY324" fmla="*/ 185680 h 2403475"/>
              <a:gd name="connsiteX325" fmla="*/ 6936382 w 11499847"/>
              <a:gd name="connsiteY325" fmla="*/ 245658 h 2403475"/>
              <a:gd name="connsiteX326" fmla="*/ 6892114 w 11499847"/>
              <a:gd name="connsiteY326" fmla="*/ 288709 h 2403475"/>
              <a:gd name="connsiteX327" fmla="*/ 6950791 w 11499847"/>
              <a:gd name="connsiteY327" fmla="*/ 339492 h 2403475"/>
              <a:gd name="connsiteX328" fmla="*/ 6972298 w 11499847"/>
              <a:gd name="connsiteY328" fmla="*/ 412845 h 2403475"/>
              <a:gd name="connsiteX329" fmla="*/ 6926359 w 11499847"/>
              <a:gd name="connsiteY329" fmla="*/ 517546 h 2403475"/>
              <a:gd name="connsiteX330" fmla="*/ 6808798 w 11499847"/>
              <a:gd name="connsiteY330" fmla="*/ 560388 h 2403475"/>
              <a:gd name="connsiteX331" fmla="*/ 6592885 w 11499847"/>
              <a:gd name="connsiteY331" fmla="*/ 560388 h 2403475"/>
              <a:gd name="connsiteX332" fmla="*/ 6592885 w 11499847"/>
              <a:gd name="connsiteY332" fmla="*/ 49213 h 2403475"/>
              <a:gd name="connsiteX333" fmla="*/ 8850790 w 11499847"/>
              <a:gd name="connsiteY333" fmla="*/ 38100 h 2403475"/>
              <a:gd name="connsiteX334" fmla="*/ 9041603 w 11499847"/>
              <a:gd name="connsiteY334" fmla="*/ 116301 h 2403475"/>
              <a:gd name="connsiteX335" fmla="*/ 9120185 w 11499847"/>
              <a:gd name="connsiteY335" fmla="*/ 304905 h 2403475"/>
              <a:gd name="connsiteX336" fmla="*/ 9041603 w 11499847"/>
              <a:gd name="connsiteY336" fmla="*/ 493090 h 2403475"/>
              <a:gd name="connsiteX337" fmla="*/ 8850790 w 11499847"/>
              <a:gd name="connsiteY337" fmla="*/ 571500 h 2403475"/>
              <a:gd name="connsiteX338" fmla="*/ 8660186 w 11499847"/>
              <a:gd name="connsiteY338" fmla="*/ 493090 h 2403475"/>
              <a:gd name="connsiteX339" fmla="*/ 8582022 w 11499847"/>
              <a:gd name="connsiteY339" fmla="*/ 304905 h 2403475"/>
              <a:gd name="connsiteX340" fmla="*/ 8660186 w 11499847"/>
              <a:gd name="connsiteY340" fmla="*/ 116301 h 2403475"/>
              <a:gd name="connsiteX341" fmla="*/ 8850790 w 11499847"/>
              <a:gd name="connsiteY341" fmla="*/ 38100 h 2403475"/>
              <a:gd name="connsiteX342" fmla="*/ 7870035 w 11499847"/>
              <a:gd name="connsiteY342" fmla="*/ 38100 h 2403475"/>
              <a:gd name="connsiteX343" fmla="*/ 7871499 w 11499847"/>
              <a:gd name="connsiteY343" fmla="*/ 38100 h 2403475"/>
              <a:gd name="connsiteX344" fmla="*/ 7955187 w 11499847"/>
              <a:gd name="connsiteY344" fmla="*/ 51273 h 2403475"/>
              <a:gd name="connsiteX345" fmla="*/ 8025067 w 11499847"/>
              <a:gd name="connsiteY345" fmla="*/ 86401 h 2403475"/>
              <a:gd name="connsiteX346" fmla="*/ 8004563 w 11499847"/>
              <a:gd name="connsiteY346" fmla="*/ 118811 h 2403475"/>
              <a:gd name="connsiteX347" fmla="*/ 7984060 w 11499847"/>
              <a:gd name="connsiteY347" fmla="*/ 151429 h 2403475"/>
              <a:gd name="connsiteX348" fmla="*/ 7926943 w 11499847"/>
              <a:gd name="connsiteY348" fmla="*/ 122574 h 2403475"/>
              <a:gd name="connsiteX349" fmla="*/ 7869198 w 11499847"/>
              <a:gd name="connsiteY349" fmla="*/ 112538 h 2403475"/>
              <a:gd name="connsiteX350" fmla="*/ 7802666 w 11499847"/>
              <a:gd name="connsiteY350" fmla="*/ 133865 h 2403475"/>
              <a:gd name="connsiteX351" fmla="*/ 7780907 w 11499847"/>
              <a:gd name="connsiteY351" fmla="*/ 185721 h 2403475"/>
              <a:gd name="connsiteX352" fmla="*/ 7811035 w 11499847"/>
              <a:gd name="connsiteY352" fmla="*/ 236949 h 2403475"/>
              <a:gd name="connsiteX353" fmla="*/ 7891166 w 11499847"/>
              <a:gd name="connsiteY353" fmla="*/ 266849 h 2403475"/>
              <a:gd name="connsiteX354" fmla="*/ 7998914 w 11499847"/>
              <a:gd name="connsiteY354" fmla="*/ 313896 h 2403475"/>
              <a:gd name="connsiteX355" fmla="*/ 8047035 w 11499847"/>
              <a:gd name="connsiteY355" fmla="*/ 415934 h 2403475"/>
              <a:gd name="connsiteX356" fmla="*/ 7999751 w 11499847"/>
              <a:gd name="connsiteY356" fmla="*/ 527381 h 2403475"/>
              <a:gd name="connsiteX357" fmla="*/ 7866478 w 11499847"/>
              <a:gd name="connsiteY357" fmla="*/ 571500 h 2403475"/>
              <a:gd name="connsiteX358" fmla="*/ 7761659 w 11499847"/>
              <a:gd name="connsiteY358" fmla="*/ 554145 h 2403475"/>
              <a:gd name="connsiteX359" fmla="*/ 7685085 w 11499847"/>
              <a:gd name="connsiteY359" fmla="*/ 512954 h 2403475"/>
              <a:gd name="connsiteX360" fmla="*/ 7725883 w 11499847"/>
              <a:gd name="connsiteY360" fmla="*/ 447925 h 2403475"/>
              <a:gd name="connsiteX361" fmla="*/ 7793879 w 11499847"/>
              <a:gd name="connsiteY361" fmla="*/ 483053 h 2403475"/>
              <a:gd name="connsiteX362" fmla="*/ 7867106 w 11499847"/>
              <a:gd name="connsiteY362" fmla="*/ 497063 h 2403475"/>
              <a:gd name="connsiteX363" fmla="*/ 7939496 w 11499847"/>
              <a:gd name="connsiteY363" fmla="*/ 475108 h 2403475"/>
              <a:gd name="connsiteX364" fmla="*/ 7964393 w 11499847"/>
              <a:gd name="connsiteY364" fmla="*/ 420952 h 2403475"/>
              <a:gd name="connsiteX365" fmla="*/ 7933847 w 11499847"/>
              <a:gd name="connsiteY365" fmla="*/ 369933 h 2403475"/>
              <a:gd name="connsiteX366" fmla="*/ 7853925 w 11499847"/>
              <a:gd name="connsiteY366" fmla="*/ 339823 h 2403475"/>
              <a:gd name="connsiteX367" fmla="*/ 7745968 w 11499847"/>
              <a:gd name="connsiteY367" fmla="*/ 292986 h 2403475"/>
              <a:gd name="connsiteX368" fmla="*/ 7698266 w 11499847"/>
              <a:gd name="connsiteY368" fmla="*/ 190739 h 2403475"/>
              <a:gd name="connsiteX369" fmla="*/ 7743666 w 11499847"/>
              <a:gd name="connsiteY369" fmla="*/ 80964 h 2403475"/>
              <a:gd name="connsiteX370" fmla="*/ 7870035 w 11499847"/>
              <a:gd name="connsiteY370" fmla="*/ 38100 h 2403475"/>
              <a:gd name="connsiteX371" fmla="*/ 7334624 w 11499847"/>
              <a:gd name="connsiteY371" fmla="*/ 38100 h 2403475"/>
              <a:gd name="connsiteX372" fmla="*/ 7525363 w 11499847"/>
              <a:gd name="connsiteY372" fmla="*/ 116301 h 2403475"/>
              <a:gd name="connsiteX373" fmla="*/ 7604123 w 11499847"/>
              <a:gd name="connsiteY373" fmla="*/ 304905 h 2403475"/>
              <a:gd name="connsiteX374" fmla="*/ 7525363 w 11499847"/>
              <a:gd name="connsiteY374" fmla="*/ 493090 h 2403475"/>
              <a:gd name="connsiteX375" fmla="*/ 7334624 w 11499847"/>
              <a:gd name="connsiteY375" fmla="*/ 571500 h 2403475"/>
              <a:gd name="connsiteX376" fmla="*/ 7144094 w 11499847"/>
              <a:gd name="connsiteY376" fmla="*/ 493090 h 2403475"/>
              <a:gd name="connsiteX377" fmla="*/ 7065960 w 11499847"/>
              <a:gd name="connsiteY377" fmla="*/ 304905 h 2403475"/>
              <a:gd name="connsiteX378" fmla="*/ 7144094 w 11499847"/>
              <a:gd name="connsiteY378" fmla="*/ 116301 h 2403475"/>
              <a:gd name="connsiteX379" fmla="*/ 7334624 w 11499847"/>
              <a:gd name="connsiteY379" fmla="*/ 38100 h 2403475"/>
              <a:gd name="connsiteX380" fmla="*/ 2766077 w 11499847"/>
              <a:gd name="connsiteY380" fmla="*/ 0 h 2403475"/>
              <a:gd name="connsiteX381" fmla="*/ 3146531 w 11499847"/>
              <a:gd name="connsiteY381" fmla="*/ 51449 h 2403475"/>
              <a:gd name="connsiteX382" fmla="*/ 3467375 w 11499847"/>
              <a:gd name="connsiteY382" fmla="*/ 204124 h 2403475"/>
              <a:gd name="connsiteX383" fmla="*/ 3340627 w 11499847"/>
              <a:gd name="connsiteY383" fmla="*/ 403228 h 2403475"/>
              <a:gd name="connsiteX384" fmla="*/ 3213880 w 11499847"/>
              <a:gd name="connsiteY384" fmla="*/ 602542 h 2403475"/>
              <a:gd name="connsiteX385" fmla="*/ 3009743 w 11499847"/>
              <a:gd name="connsiteY385" fmla="*/ 496716 h 2403475"/>
              <a:gd name="connsiteX386" fmla="*/ 2766077 w 11499847"/>
              <a:gd name="connsiteY386" fmla="*/ 457606 h 2403475"/>
              <a:gd name="connsiteX387" fmla="*/ 2232314 w 11499847"/>
              <a:gd name="connsiteY387" fmla="*/ 681180 h 2403475"/>
              <a:gd name="connsiteX388" fmla="*/ 2012073 w 11499847"/>
              <a:gd name="connsiteY388" fmla="*/ 1198391 h 2403475"/>
              <a:gd name="connsiteX389" fmla="*/ 2232314 w 11499847"/>
              <a:gd name="connsiteY389" fmla="*/ 1721250 h 2403475"/>
              <a:gd name="connsiteX390" fmla="*/ 2766077 w 11499847"/>
              <a:gd name="connsiteY390" fmla="*/ 1942732 h 2403475"/>
              <a:gd name="connsiteX391" fmla="*/ 3050111 w 11499847"/>
              <a:gd name="connsiteY391" fmla="*/ 1886682 h 2403475"/>
              <a:gd name="connsiteX392" fmla="*/ 3289594 w 11499847"/>
              <a:gd name="connsiteY392" fmla="*/ 1722086 h 2403475"/>
              <a:gd name="connsiteX393" fmla="*/ 3543925 w 11499847"/>
              <a:gd name="connsiteY393" fmla="*/ 1095493 h 2403475"/>
              <a:gd name="connsiteX394" fmla="*/ 3921866 w 11499847"/>
              <a:gd name="connsiteY394" fmla="*/ 345714 h 2403475"/>
              <a:gd name="connsiteX395" fmla="*/ 4300646 w 11499847"/>
              <a:gd name="connsiteY395" fmla="*/ 92441 h 2403475"/>
              <a:gd name="connsiteX396" fmla="*/ 4787977 w 11499847"/>
              <a:gd name="connsiteY396" fmla="*/ 0 h 2403475"/>
              <a:gd name="connsiteX397" fmla="*/ 5168221 w 11499847"/>
              <a:gd name="connsiteY397" fmla="*/ 54796 h 2403475"/>
              <a:gd name="connsiteX398" fmla="*/ 5489275 w 11499847"/>
              <a:gd name="connsiteY398" fmla="*/ 210607 h 2403475"/>
              <a:gd name="connsiteX399" fmla="*/ 5364200 w 11499847"/>
              <a:gd name="connsiteY399" fmla="*/ 409921 h 2403475"/>
              <a:gd name="connsiteX400" fmla="*/ 5239125 w 11499847"/>
              <a:gd name="connsiteY400" fmla="*/ 609025 h 2403475"/>
              <a:gd name="connsiteX401" fmla="*/ 5031643 w 11499847"/>
              <a:gd name="connsiteY401" fmla="*/ 500480 h 2403475"/>
              <a:gd name="connsiteX402" fmla="*/ 4784631 w 11499847"/>
              <a:gd name="connsiteY402" fmla="*/ 460952 h 2403475"/>
              <a:gd name="connsiteX403" fmla="*/ 4264462 w 11499847"/>
              <a:gd name="connsiteY403" fmla="*/ 679089 h 2403475"/>
              <a:gd name="connsiteX404" fmla="*/ 4050287 w 11499847"/>
              <a:gd name="connsiteY404" fmla="*/ 1198391 h 2403475"/>
              <a:gd name="connsiteX405" fmla="*/ 4262370 w 11499847"/>
              <a:gd name="connsiteY405" fmla="*/ 1725223 h 2403475"/>
              <a:gd name="connsiteX406" fmla="*/ 4778147 w 11499847"/>
              <a:gd name="connsiteY406" fmla="*/ 1945870 h 2403475"/>
              <a:gd name="connsiteX407" fmla="*/ 5191438 w 11499847"/>
              <a:gd name="connsiteY407" fmla="*/ 1804280 h 2403475"/>
              <a:gd name="connsiteX408" fmla="*/ 5426737 w 11499847"/>
              <a:gd name="connsiteY408" fmla="*/ 1445390 h 2403475"/>
              <a:gd name="connsiteX409" fmla="*/ 4708917 w 11499847"/>
              <a:gd name="connsiteY409" fmla="*/ 1445390 h 2403475"/>
              <a:gd name="connsiteX410" fmla="*/ 4850515 w 11499847"/>
              <a:gd name="connsiteY410" fmla="*/ 1223279 h 2403475"/>
              <a:gd name="connsiteX411" fmla="*/ 4992113 w 11499847"/>
              <a:gd name="connsiteY411" fmla="*/ 1000960 h 2403475"/>
              <a:gd name="connsiteX412" fmla="*/ 5457901 w 11499847"/>
              <a:gd name="connsiteY412" fmla="*/ 1000960 h 2403475"/>
              <a:gd name="connsiteX413" fmla="*/ 5924108 w 11499847"/>
              <a:gd name="connsiteY413" fmla="*/ 1000960 h 2403475"/>
              <a:gd name="connsiteX414" fmla="*/ 5936030 w 11499847"/>
              <a:gd name="connsiteY414" fmla="*/ 1100094 h 2403475"/>
              <a:gd name="connsiteX415" fmla="*/ 5940422 w 11499847"/>
              <a:gd name="connsiteY415" fmla="*/ 1201738 h 2403475"/>
              <a:gd name="connsiteX416" fmla="*/ 5600963 w 11499847"/>
              <a:gd name="connsiteY416" fmla="*/ 2050860 h 2403475"/>
              <a:gd name="connsiteX417" fmla="*/ 4764970 w 11499847"/>
              <a:gd name="connsiteY417" fmla="*/ 2403475 h 2403475"/>
              <a:gd name="connsiteX418" fmla="*/ 4178290 w 11499847"/>
              <a:gd name="connsiteY418" fmla="*/ 2262513 h 2403475"/>
              <a:gd name="connsiteX419" fmla="*/ 3757265 w 11499847"/>
              <a:gd name="connsiteY419" fmla="*/ 1886682 h 2403475"/>
              <a:gd name="connsiteX420" fmla="*/ 3332469 w 11499847"/>
              <a:gd name="connsiteY420" fmla="*/ 2263558 h 2403475"/>
              <a:gd name="connsiteX421" fmla="*/ 2749555 w 11499847"/>
              <a:gd name="connsiteY421" fmla="*/ 2403475 h 2403475"/>
              <a:gd name="connsiteX422" fmla="*/ 2242563 w 11499847"/>
              <a:gd name="connsiteY422" fmla="*/ 2295766 h 2403475"/>
              <a:gd name="connsiteX423" fmla="*/ 1844121 w 11499847"/>
              <a:gd name="connsiteY423" fmla="*/ 2005266 h 2403475"/>
              <a:gd name="connsiteX424" fmla="*/ 1583096 w 11499847"/>
              <a:gd name="connsiteY424" fmla="*/ 2257493 h 2403475"/>
              <a:gd name="connsiteX425" fmla="*/ 1188838 w 11499847"/>
              <a:gd name="connsiteY425" fmla="*/ 2354117 h 2403475"/>
              <a:gd name="connsiteX426" fmla="*/ 0 w 11499847"/>
              <a:gd name="connsiteY426" fmla="*/ 2354117 h 2403475"/>
              <a:gd name="connsiteX427" fmla="*/ 0 w 11499847"/>
              <a:gd name="connsiteY427" fmla="*/ 1201738 h 2403475"/>
              <a:gd name="connsiteX428" fmla="*/ 0 w 11499847"/>
              <a:gd name="connsiteY428" fmla="*/ 49358 h 2403475"/>
              <a:gd name="connsiteX429" fmla="*/ 538575 w 11499847"/>
              <a:gd name="connsiteY429" fmla="*/ 49358 h 2403475"/>
              <a:gd name="connsiteX430" fmla="*/ 1076940 w 11499847"/>
              <a:gd name="connsiteY430" fmla="*/ 49358 h 2403475"/>
              <a:gd name="connsiteX431" fmla="*/ 1523487 w 11499847"/>
              <a:gd name="connsiteY431" fmla="*/ 176099 h 2403475"/>
              <a:gd name="connsiteX432" fmla="*/ 1774892 w 11499847"/>
              <a:gd name="connsiteY432" fmla="*/ 500480 h 2403475"/>
              <a:gd name="connsiteX433" fmla="*/ 2196549 w 11499847"/>
              <a:gd name="connsiteY433" fmla="*/ 137826 h 2403475"/>
              <a:gd name="connsiteX434" fmla="*/ 2766077 w 11499847"/>
              <a:gd name="connsiteY434" fmla="*/ 0 h 2403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</a:cxnLst>
            <a:rect l="l" t="t" r="r" b="b"/>
            <a:pathLst>
              <a:path w="11499847" h="2403475">
                <a:moveTo>
                  <a:pt x="8982072" y="1919288"/>
                </a:moveTo>
                <a:cubicBezTo>
                  <a:pt x="8982072" y="2105026"/>
                  <a:pt x="8982072" y="2105026"/>
                  <a:pt x="8982072" y="2105026"/>
                </a:cubicBezTo>
                <a:cubicBezTo>
                  <a:pt x="9098233" y="2105026"/>
                  <a:pt x="9098233" y="2105026"/>
                  <a:pt x="9098233" y="2105026"/>
                </a:cubicBezTo>
                <a:cubicBezTo>
                  <a:pt x="9124975" y="2105026"/>
                  <a:pt x="9148166" y="2096202"/>
                  <a:pt x="9164880" y="2080233"/>
                </a:cubicBezTo>
                <a:cubicBezTo>
                  <a:pt x="9181594" y="2064055"/>
                  <a:pt x="9191622" y="2040732"/>
                  <a:pt x="9191622" y="2011737"/>
                </a:cubicBezTo>
                <a:cubicBezTo>
                  <a:pt x="9191622" y="1983792"/>
                  <a:pt x="9181594" y="1960680"/>
                  <a:pt x="9164880" y="1944501"/>
                </a:cubicBezTo>
                <a:cubicBezTo>
                  <a:pt x="9148166" y="1928323"/>
                  <a:pt x="9124975" y="1919288"/>
                  <a:pt x="9098233" y="1919288"/>
                </a:cubicBezTo>
                <a:cubicBezTo>
                  <a:pt x="8982072" y="1919288"/>
                  <a:pt x="8982072" y="1919288"/>
                  <a:pt x="8982072" y="1919288"/>
                </a:cubicBezTo>
                <a:close/>
                <a:moveTo>
                  <a:pt x="7280272" y="1919288"/>
                </a:moveTo>
                <a:cubicBezTo>
                  <a:pt x="7280272" y="2097088"/>
                  <a:pt x="7280272" y="2097088"/>
                  <a:pt x="7280272" y="2097088"/>
                </a:cubicBezTo>
                <a:cubicBezTo>
                  <a:pt x="7404503" y="2097088"/>
                  <a:pt x="7404503" y="2097088"/>
                  <a:pt x="7404503" y="2097088"/>
                </a:cubicBezTo>
                <a:cubicBezTo>
                  <a:pt x="7430689" y="2097088"/>
                  <a:pt x="7453105" y="2088711"/>
                  <a:pt x="7469027" y="2073423"/>
                </a:cubicBezTo>
                <a:cubicBezTo>
                  <a:pt x="7485158" y="2058136"/>
                  <a:pt x="7494585" y="2035937"/>
                  <a:pt x="7494585" y="2008502"/>
                </a:cubicBezTo>
                <a:cubicBezTo>
                  <a:pt x="7494585" y="1981487"/>
                  <a:pt x="7485158" y="1959078"/>
                  <a:pt x="7469027" y="1943581"/>
                </a:cubicBezTo>
                <a:cubicBezTo>
                  <a:pt x="7453105" y="1927874"/>
                  <a:pt x="7430689" y="1919288"/>
                  <a:pt x="7404503" y="1919288"/>
                </a:cubicBezTo>
                <a:cubicBezTo>
                  <a:pt x="7280272" y="1919288"/>
                  <a:pt x="7280272" y="1919288"/>
                  <a:pt x="7280272" y="1919288"/>
                </a:cubicBezTo>
                <a:close/>
                <a:moveTo>
                  <a:pt x="7945015" y="1909763"/>
                </a:moveTo>
                <a:cubicBezTo>
                  <a:pt x="7893445" y="1909763"/>
                  <a:pt x="7847115" y="1930941"/>
                  <a:pt x="7813574" y="1965330"/>
                </a:cubicBezTo>
                <a:cubicBezTo>
                  <a:pt x="7780242" y="1999719"/>
                  <a:pt x="7759697" y="2047317"/>
                  <a:pt x="7759697" y="2100368"/>
                </a:cubicBezTo>
                <a:cubicBezTo>
                  <a:pt x="7759697" y="2153419"/>
                  <a:pt x="7780242" y="2201227"/>
                  <a:pt x="7813574" y="2235406"/>
                </a:cubicBezTo>
                <a:cubicBezTo>
                  <a:pt x="7847115" y="2269795"/>
                  <a:pt x="7893445" y="2290763"/>
                  <a:pt x="7945015" y="2290763"/>
                </a:cubicBezTo>
                <a:cubicBezTo>
                  <a:pt x="7997215" y="2290763"/>
                  <a:pt x="8043544" y="2270004"/>
                  <a:pt x="8077086" y="2235825"/>
                </a:cubicBezTo>
                <a:cubicBezTo>
                  <a:pt x="8110628" y="2201437"/>
                  <a:pt x="8131172" y="2153838"/>
                  <a:pt x="8131172" y="2100368"/>
                </a:cubicBezTo>
                <a:cubicBezTo>
                  <a:pt x="8131172" y="2047317"/>
                  <a:pt x="8110418" y="1999719"/>
                  <a:pt x="8076876" y="1965330"/>
                </a:cubicBezTo>
                <a:cubicBezTo>
                  <a:pt x="8043334" y="1930941"/>
                  <a:pt x="7996796" y="1909763"/>
                  <a:pt x="7945015" y="1909763"/>
                </a:cubicBezTo>
                <a:close/>
                <a:moveTo>
                  <a:pt x="8899522" y="1844675"/>
                </a:moveTo>
                <a:cubicBezTo>
                  <a:pt x="9098598" y="1844675"/>
                  <a:pt x="9098598" y="1844675"/>
                  <a:pt x="9098598" y="1844675"/>
                </a:cubicBezTo>
                <a:cubicBezTo>
                  <a:pt x="9152872" y="1844675"/>
                  <a:pt x="9197507" y="1862857"/>
                  <a:pt x="9228521" y="1892741"/>
                </a:cubicBezTo>
                <a:cubicBezTo>
                  <a:pt x="9259744" y="1922835"/>
                  <a:pt x="9277347" y="1964423"/>
                  <a:pt x="9277347" y="2011236"/>
                </a:cubicBezTo>
                <a:cubicBezTo>
                  <a:pt x="9277347" y="2057839"/>
                  <a:pt x="9259744" y="2099427"/>
                  <a:pt x="9228521" y="2129521"/>
                </a:cubicBezTo>
                <a:cubicBezTo>
                  <a:pt x="9197507" y="2159405"/>
                  <a:pt x="9152872" y="2177796"/>
                  <a:pt x="9098598" y="2177796"/>
                </a:cubicBezTo>
                <a:cubicBezTo>
                  <a:pt x="8982086" y="2177796"/>
                  <a:pt x="8982086" y="2177796"/>
                  <a:pt x="8982086" y="2177796"/>
                </a:cubicBezTo>
                <a:cubicBezTo>
                  <a:pt x="8982086" y="2355850"/>
                  <a:pt x="8982086" y="2355850"/>
                  <a:pt x="8982086" y="2355850"/>
                </a:cubicBezTo>
                <a:cubicBezTo>
                  <a:pt x="8899522" y="2355850"/>
                  <a:pt x="8899522" y="2355850"/>
                  <a:pt x="8899522" y="2355850"/>
                </a:cubicBezTo>
                <a:cubicBezTo>
                  <a:pt x="8899522" y="1844675"/>
                  <a:pt x="8899522" y="1844675"/>
                  <a:pt x="8899522" y="1844675"/>
                </a:cubicBezTo>
                <a:close/>
                <a:moveTo>
                  <a:pt x="8324847" y="1844675"/>
                </a:moveTo>
                <a:cubicBezTo>
                  <a:pt x="8407608" y="1844675"/>
                  <a:pt x="8407608" y="1844675"/>
                  <a:pt x="8407608" y="1844675"/>
                </a:cubicBezTo>
                <a:cubicBezTo>
                  <a:pt x="8407608" y="2158090"/>
                  <a:pt x="8407608" y="2158090"/>
                  <a:pt x="8407608" y="2158090"/>
                </a:cubicBezTo>
                <a:cubicBezTo>
                  <a:pt x="8407608" y="2195307"/>
                  <a:pt x="8420389" y="2228551"/>
                  <a:pt x="8443017" y="2252595"/>
                </a:cubicBezTo>
                <a:cubicBezTo>
                  <a:pt x="8465855" y="2276431"/>
                  <a:pt x="8498331" y="2291066"/>
                  <a:pt x="8537931" y="2291066"/>
                </a:cubicBezTo>
                <a:cubicBezTo>
                  <a:pt x="8576692" y="2291066"/>
                  <a:pt x="8609168" y="2276431"/>
                  <a:pt x="8631797" y="2252595"/>
                </a:cubicBezTo>
                <a:cubicBezTo>
                  <a:pt x="8654425" y="2228551"/>
                  <a:pt x="8667415" y="2195307"/>
                  <a:pt x="8667415" y="2158090"/>
                </a:cubicBezTo>
                <a:cubicBezTo>
                  <a:pt x="8667415" y="1844675"/>
                  <a:pt x="8667415" y="1844675"/>
                  <a:pt x="8667415" y="1844675"/>
                </a:cubicBezTo>
                <a:cubicBezTo>
                  <a:pt x="8748710" y="1844675"/>
                  <a:pt x="8748710" y="1844675"/>
                  <a:pt x="8748710" y="1844675"/>
                </a:cubicBezTo>
                <a:cubicBezTo>
                  <a:pt x="8748710" y="2158717"/>
                  <a:pt x="8748710" y="2158717"/>
                  <a:pt x="8748710" y="2158717"/>
                </a:cubicBezTo>
                <a:cubicBezTo>
                  <a:pt x="8748710" y="2218724"/>
                  <a:pt x="8726291" y="2270785"/>
                  <a:pt x="8688577" y="2307793"/>
                </a:cubicBezTo>
                <a:cubicBezTo>
                  <a:pt x="8650863" y="2345010"/>
                  <a:pt x="8597854" y="2366963"/>
                  <a:pt x="8537093" y="2366963"/>
                </a:cubicBezTo>
                <a:cubicBezTo>
                  <a:pt x="8476331" y="2366963"/>
                  <a:pt x="8423322" y="2345010"/>
                  <a:pt x="8385399" y="2307793"/>
                </a:cubicBezTo>
                <a:cubicBezTo>
                  <a:pt x="8347475" y="2270785"/>
                  <a:pt x="8324847" y="2218724"/>
                  <a:pt x="8324847" y="2158717"/>
                </a:cubicBezTo>
                <a:cubicBezTo>
                  <a:pt x="8324847" y="1844675"/>
                  <a:pt x="8324847" y="1844675"/>
                  <a:pt x="8324847" y="1844675"/>
                </a:cubicBezTo>
                <a:close/>
                <a:moveTo>
                  <a:pt x="7197722" y="1844675"/>
                </a:moveTo>
                <a:cubicBezTo>
                  <a:pt x="7404196" y="1844675"/>
                  <a:pt x="7404196" y="1844675"/>
                  <a:pt x="7404196" y="1844675"/>
                </a:cubicBezTo>
                <a:cubicBezTo>
                  <a:pt x="7457641" y="1844675"/>
                  <a:pt x="7501065" y="1862439"/>
                  <a:pt x="7531336" y="1891906"/>
                </a:cubicBezTo>
                <a:cubicBezTo>
                  <a:pt x="7561608" y="1921581"/>
                  <a:pt x="7578727" y="1962542"/>
                  <a:pt x="7578727" y="2008937"/>
                </a:cubicBezTo>
                <a:cubicBezTo>
                  <a:pt x="7578727" y="2047390"/>
                  <a:pt x="7568080" y="2080827"/>
                  <a:pt x="7548455" y="2106950"/>
                </a:cubicBezTo>
                <a:cubicBezTo>
                  <a:pt x="7529040" y="2133073"/>
                  <a:pt x="7500647" y="2152091"/>
                  <a:pt x="7464947" y="2161495"/>
                </a:cubicBezTo>
                <a:cubicBezTo>
                  <a:pt x="7525699" y="2258673"/>
                  <a:pt x="7525699" y="2258673"/>
                  <a:pt x="7525699" y="2258673"/>
                </a:cubicBezTo>
                <a:cubicBezTo>
                  <a:pt x="7586660" y="2355850"/>
                  <a:pt x="7586660" y="2355850"/>
                  <a:pt x="7586660" y="2355850"/>
                </a:cubicBezTo>
                <a:cubicBezTo>
                  <a:pt x="7491044" y="2355850"/>
                  <a:pt x="7491044" y="2355850"/>
                  <a:pt x="7491044" y="2355850"/>
                </a:cubicBezTo>
                <a:cubicBezTo>
                  <a:pt x="7434676" y="2263479"/>
                  <a:pt x="7434676" y="2263479"/>
                  <a:pt x="7434676" y="2263479"/>
                </a:cubicBezTo>
                <a:cubicBezTo>
                  <a:pt x="7378099" y="2171108"/>
                  <a:pt x="7378099" y="2171108"/>
                  <a:pt x="7378099" y="2171108"/>
                </a:cubicBezTo>
                <a:cubicBezTo>
                  <a:pt x="7280395" y="2171108"/>
                  <a:pt x="7280395" y="2171108"/>
                  <a:pt x="7280395" y="2171108"/>
                </a:cubicBezTo>
                <a:cubicBezTo>
                  <a:pt x="7280395" y="2355850"/>
                  <a:pt x="7280395" y="2355850"/>
                  <a:pt x="7280395" y="2355850"/>
                </a:cubicBezTo>
                <a:cubicBezTo>
                  <a:pt x="7197722" y="2355850"/>
                  <a:pt x="7197722" y="2355850"/>
                  <a:pt x="7197722" y="2355850"/>
                </a:cubicBezTo>
                <a:cubicBezTo>
                  <a:pt x="7197722" y="1844675"/>
                  <a:pt x="7197722" y="1844675"/>
                  <a:pt x="7197722" y="1844675"/>
                </a:cubicBezTo>
                <a:close/>
                <a:moveTo>
                  <a:pt x="7945016" y="1833563"/>
                </a:moveTo>
                <a:cubicBezTo>
                  <a:pt x="8020028" y="1833563"/>
                  <a:pt x="8087706" y="1863673"/>
                  <a:pt x="8136527" y="1911974"/>
                </a:cubicBezTo>
                <a:cubicBezTo>
                  <a:pt x="8185138" y="1960274"/>
                  <a:pt x="8215310" y="2026976"/>
                  <a:pt x="8215310" y="2100368"/>
                </a:cubicBezTo>
                <a:cubicBezTo>
                  <a:pt x="8215310" y="2173760"/>
                  <a:pt x="8185138" y="2240461"/>
                  <a:pt x="8136527" y="2288762"/>
                </a:cubicBezTo>
                <a:cubicBezTo>
                  <a:pt x="8087706" y="2337063"/>
                  <a:pt x="8020028" y="2366963"/>
                  <a:pt x="7945016" y="2366963"/>
                </a:cubicBezTo>
                <a:cubicBezTo>
                  <a:pt x="7870004" y="2366963"/>
                  <a:pt x="7802745" y="2337063"/>
                  <a:pt x="7754134" y="2288762"/>
                </a:cubicBezTo>
                <a:cubicBezTo>
                  <a:pt x="7705523" y="2240461"/>
                  <a:pt x="7675560" y="2173760"/>
                  <a:pt x="7675560" y="2100368"/>
                </a:cubicBezTo>
                <a:cubicBezTo>
                  <a:pt x="7675560" y="2026976"/>
                  <a:pt x="7705523" y="1960274"/>
                  <a:pt x="7754134" y="1911974"/>
                </a:cubicBezTo>
                <a:cubicBezTo>
                  <a:pt x="7802745" y="1863673"/>
                  <a:pt x="7870004" y="1833563"/>
                  <a:pt x="7945016" y="1833563"/>
                </a:cubicBezTo>
                <a:close/>
                <a:moveTo>
                  <a:pt x="6834872" y="1833563"/>
                </a:moveTo>
                <a:cubicBezTo>
                  <a:pt x="6865690" y="1833563"/>
                  <a:pt x="6894831" y="1837536"/>
                  <a:pt x="6921875" y="1845482"/>
                </a:cubicBezTo>
                <a:cubicBezTo>
                  <a:pt x="6948919" y="1853218"/>
                  <a:pt x="6973658" y="1865136"/>
                  <a:pt x="6996090" y="1881028"/>
                </a:cubicBezTo>
                <a:cubicBezTo>
                  <a:pt x="6974496" y="1914692"/>
                  <a:pt x="6974496" y="1914692"/>
                  <a:pt x="6974496" y="1914692"/>
                </a:cubicBezTo>
                <a:cubicBezTo>
                  <a:pt x="6952903" y="1948356"/>
                  <a:pt x="6952903" y="1948356"/>
                  <a:pt x="6952903" y="1948356"/>
                </a:cubicBezTo>
                <a:cubicBezTo>
                  <a:pt x="6935712" y="1935183"/>
                  <a:pt x="6917263" y="1925774"/>
                  <a:pt x="6897556" y="1919501"/>
                </a:cubicBezTo>
                <a:cubicBezTo>
                  <a:pt x="6877850" y="1913228"/>
                  <a:pt x="6856885" y="1910301"/>
                  <a:pt x="6834243" y="1910301"/>
                </a:cubicBezTo>
                <a:cubicBezTo>
                  <a:pt x="6782461" y="1910301"/>
                  <a:pt x="6736548" y="1931001"/>
                  <a:pt x="6703424" y="1965084"/>
                </a:cubicBezTo>
                <a:cubicBezTo>
                  <a:pt x="6670510" y="1999166"/>
                  <a:pt x="6650384" y="2046631"/>
                  <a:pt x="6650384" y="2100368"/>
                </a:cubicBezTo>
                <a:cubicBezTo>
                  <a:pt x="6650384" y="2154105"/>
                  <a:pt x="6669671" y="2201779"/>
                  <a:pt x="6701957" y="2236070"/>
                </a:cubicBezTo>
                <a:cubicBezTo>
                  <a:pt x="6734242" y="2270152"/>
                  <a:pt x="6779526" y="2291062"/>
                  <a:pt x="6831308" y="2291062"/>
                </a:cubicBezTo>
                <a:cubicBezTo>
                  <a:pt x="6878898" y="2291062"/>
                  <a:pt x="6917473" y="2275798"/>
                  <a:pt x="6945984" y="2250498"/>
                </a:cubicBezTo>
                <a:cubicBezTo>
                  <a:pt x="6974496" y="2225197"/>
                  <a:pt x="6992735" y="2189442"/>
                  <a:pt x="6999863" y="2148460"/>
                </a:cubicBezTo>
                <a:cubicBezTo>
                  <a:pt x="6825438" y="2148460"/>
                  <a:pt x="6825438" y="2148460"/>
                  <a:pt x="6825438" y="2148460"/>
                </a:cubicBezTo>
                <a:cubicBezTo>
                  <a:pt x="6849128" y="2111241"/>
                  <a:pt x="6849128" y="2111241"/>
                  <a:pt x="6849128" y="2111241"/>
                </a:cubicBezTo>
                <a:cubicBezTo>
                  <a:pt x="6873028" y="2074022"/>
                  <a:pt x="6873028" y="2074022"/>
                  <a:pt x="6873028" y="2074022"/>
                </a:cubicBezTo>
                <a:cubicBezTo>
                  <a:pt x="7078061" y="2074022"/>
                  <a:pt x="7078061" y="2074022"/>
                  <a:pt x="7078061" y="2074022"/>
                </a:cubicBezTo>
                <a:cubicBezTo>
                  <a:pt x="7079319" y="2078204"/>
                  <a:pt x="7080158" y="2083849"/>
                  <a:pt x="7080787" y="2090540"/>
                </a:cubicBezTo>
                <a:cubicBezTo>
                  <a:pt x="7081415" y="2096813"/>
                  <a:pt x="7081835" y="2103922"/>
                  <a:pt x="7081835" y="2110613"/>
                </a:cubicBezTo>
                <a:cubicBezTo>
                  <a:pt x="7081835" y="2183378"/>
                  <a:pt x="7056258" y="2247361"/>
                  <a:pt x="7011813" y="2293362"/>
                </a:cubicBezTo>
                <a:cubicBezTo>
                  <a:pt x="6967788" y="2339363"/>
                  <a:pt x="6904894" y="2366963"/>
                  <a:pt x="6830470" y="2366963"/>
                </a:cubicBezTo>
                <a:cubicBezTo>
                  <a:pt x="6756255" y="2366963"/>
                  <a:pt x="6690007" y="2337481"/>
                  <a:pt x="6642417" y="2289389"/>
                </a:cubicBezTo>
                <a:cubicBezTo>
                  <a:pt x="6595037" y="2241088"/>
                  <a:pt x="6565897" y="2174387"/>
                  <a:pt x="6565897" y="2100368"/>
                </a:cubicBezTo>
                <a:cubicBezTo>
                  <a:pt x="6565897" y="2026139"/>
                  <a:pt x="6595876" y="1959438"/>
                  <a:pt x="6644514" y="1911346"/>
                </a:cubicBezTo>
                <a:cubicBezTo>
                  <a:pt x="6692942" y="1863255"/>
                  <a:pt x="6760238" y="1833563"/>
                  <a:pt x="6834872" y="1833563"/>
                </a:cubicBezTo>
                <a:close/>
                <a:moveTo>
                  <a:pt x="501650" y="1403350"/>
                </a:moveTo>
                <a:cubicBezTo>
                  <a:pt x="501650" y="1403350"/>
                  <a:pt x="501650" y="1403350"/>
                  <a:pt x="501650" y="1925638"/>
                </a:cubicBezTo>
                <a:cubicBezTo>
                  <a:pt x="501650" y="1925638"/>
                  <a:pt x="501650" y="1925638"/>
                  <a:pt x="842112" y="1925638"/>
                </a:cubicBezTo>
                <a:cubicBezTo>
                  <a:pt x="842112" y="1925638"/>
                  <a:pt x="842112" y="1925638"/>
                  <a:pt x="1182574" y="1925638"/>
                </a:cubicBezTo>
                <a:cubicBezTo>
                  <a:pt x="1258233" y="1925638"/>
                  <a:pt x="1326576" y="1896842"/>
                  <a:pt x="1375900" y="1849684"/>
                </a:cubicBezTo>
                <a:cubicBezTo>
                  <a:pt x="1425224" y="1802317"/>
                  <a:pt x="1455738" y="1736796"/>
                  <a:pt x="1455738" y="1662720"/>
                </a:cubicBezTo>
                <a:cubicBezTo>
                  <a:pt x="1455738" y="1588853"/>
                  <a:pt x="1425224" y="1523958"/>
                  <a:pt x="1375900" y="1477635"/>
                </a:cubicBezTo>
                <a:cubicBezTo>
                  <a:pt x="1326576" y="1431103"/>
                  <a:pt x="1258233" y="1403350"/>
                  <a:pt x="1182574" y="1403350"/>
                </a:cubicBezTo>
                <a:cubicBezTo>
                  <a:pt x="1182574" y="1403350"/>
                  <a:pt x="1182574" y="1403350"/>
                  <a:pt x="501650" y="1403350"/>
                </a:cubicBezTo>
                <a:close/>
                <a:moveTo>
                  <a:pt x="7349808" y="1012825"/>
                </a:moveTo>
                <a:cubicBezTo>
                  <a:pt x="7297999" y="1012825"/>
                  <a:pt x="7251643" y="1033706"/>
                  <a:pt x="7218292" y="1067952"/>
                </a:cubicBezTo>
                <a:cubicBezTo>
                  <a:pt x="7184731" y="1102197"/>
                  <a:pt x="7164385" y="1149598"/>
                  <a:pt x="7164385" y="1202427"/>
                </a:cubicBezTo>
                <a:cubicBezTo>
                  <a:pt x="7164385" y="1255466"/>
                  <a:pt x="7184731" y="1302866"/>
                  <a:pt x="7218292" y="1336903"/>
                </a:cubicBezTo>
                <a:cubicBezTo>
                  <a:pt x="7251643" y="1371148"/>
                  <a:pt x="7297999" y="1392238"/>
                  <a:pt x="7349808" y="1392238"/>
                </a:cubicBezTo>
                <a:cubicBezTo>
                  <a:pt x="7401827" y="1392238"/>
                  <a:pt x="7448393" y="1371357"/>
                  <a:pt x="7481953" y="1337320"/>
                </a:cubicBezTo>
                <a:cubicBezTo>
                  <a:pt x="7515304" y="1303075"/>
                  <a:pt x="7535860" y="1255675"/>
                  <a:pt x="7535860" y="1202427"/>
                </a:cubicBezTo>
                <a:cubicBezTo>
                  <a:pt x="7535860" y="1149598"/>
                  <a:pt x="7515304" y="1102197"/>
                  <a:pt x="7481534" y="1067952"/>
                </a:cubicBezTo>
                <a:cubicBezTo>
                  <a:pt x="7447973" y="1033706"/>
                  <a:pt x="7401408" y="1012825"/>
                  <a:pt x="7349808" y="1012825"/>
                </a:cubicBezTo>
                <a:close/>
                <a:moveTo>
                  <a:pt x="10448922" y="946150"/>
                </a:moveTo>
                <a:lnTo>
                  <a:pt x="10552110" y="946150"/>
                </a:lnTo>
                <a:lnTo>
                  <a:pt x="10671172" y="1139825"/>
                </a:lnTo>
                <a:lnTo>
                  <a:pt x="10790235" y="1333501"/>
                </a:lnTo>
                <a:lnTo>
                  <a:pt x="10790235" y="946150"/>
                </a:lnTo>
                <a:lnTo>
                  <a:pt x="10869610" y="946150"/>
                </a:lnTo>
                <a:lnTo>
                  <a:pt x="10869610" y="1458913"/>
                </a:lnTo>
                <a:lnTo>
                  <a:pt x="10772772" y="1458913"/>
                </a:lnTo>
                <a:lnTo>
                  <a:pt x="10650535" y="1260475"/>
                </a:lnTo>
                <a:lnTo>
                  <a:pt x="10528297" y="1062038"/>
                </a:lnTo>
                <a:lnTo>
                  <a:pt x="10528297" y="1458913"/>
                </a:lnTo>
                <a:lnTo>
                  <a:pt x="10448922" y="1458913"/>
                </a:lnTo>
                <a:close/>
                <a:moveTo>
                  <a:pt x="10185397" y="946150"/>
                </a:moveTo>
                <a:lnTo>
                  <a:pt x="10267947" y="946150"/>
                </a:lnTo>
                <a:lnTo>
                  <a:pt x="10267947" y="1458913"/>
                </a:lnTo>
                <a:lnTo>
                  <a:pt x="10185397" y="1458913"/>
                </a:lnTo>
                <a:close/>
                <a:moveTo>
                  <a:pt x="9656760" y="946150"/>
                </a:moveTo>
                <a:lnTo>
                  <a:pt x="10059985" y="946150"/>
                </a:lnTo>
                <a:lnTo>
                  <a:pt x="10059985" y="1022350"/>
                </a:lnTo>
                <a:lnTo>
                  <a:pt x="9899648" y="1022350"/>
                </a:lnTo>
                <a:lnTo>
                  <a:pt x="9899648" y="1458913"/>
                </a:lnTo>
                <a:lnTo>
                  <a:pt x="9817098" y="1458913"/>
                </a:lnTo>
                <a:lnTo>
                  <a:pt x="9817098" y="1022350"/>
                </a:lnTo>
                <a:lnTo>
                  <a:pt x="9656760" y="1022350"/>
                </a:lnTo>
                <a:close/>
                <a:moveTo>
                  <a:pt x="9336085" y="946150"/>
                </a:moveTo>
                <a:lnTo>
                  <a:pt x="9418635" y="946150"/>
                </a:lnTo>
                <a:lnTo>
                  <a:pt x="9418635" y="1382713"/>
                </a:lnTo>
                <a:lnTo>
                  <a:pt x="9671048" y="1382713"/>
                </a:lnTo>
                <a:lnTo>
                  <a:pt x="9671048" y="1458913"/>
                </a:lnTo>
                <a:lnTo>
                  <a:pt x="9336085" y="1458913"/>
                </a:lnTo>
                <a:close/>
                <a:moveTo>
                  <a:pt x="8766172" y="946150"/>
                </a:moveTo>
                <a:cubicBezTo>
                  <a:pt x="8848414" y="946150"/>
                  <a:pt x="8848414" y="946150"/>
                  <a:pt x="8848414" y="946150"/>
                </a:cubicBezTo>
                <a:cubicBezTo>
                  <a:pt x="8848414" y="1260391"/>
                  <a:pt x="8848414" y="1260391"/>
                  <a:pt x="8848414" y="1260391"/>
                </a:cubicBezTo>
                <a:cubicBezTo>
                  <a:pt x="8848414" y="1297706"/>
                  <a:pt x="8861356" y="1331038"/>
                  <a:pt x="8883900" y="1355146"/>
                </a:cubicBezTo>
                <a:cubicBezTo>
                  <a:pt x="8906443" y="1379044"/>
                  <a:pt x="8939006" y="1393718"/>
                  <a:pt x="8978249" y="1393718"/>
                </a:cubicBezTo>
                <a:cubicBezTo>
                  <a:pt x="9017074" y="1393718"/>
                  <a:pt x="9049219" y="1379044"/>
                  <a:pt x="9071972" y="1355146"/>
                </a:cubicBezTo>
                <a:cubicBezTo>
                  <a:pt x="9094515" y="1331038"/>
                  <a:pt x="9107457" y="1297706"/>
                  <a:pt x="9107457" y="1260391"/>
                </a:cubicBezTo>
                <a:cubicBezTo>
                  <a:pt x="9107457" y="946150"/>
                  <a:pt x="9107457" y="946150"/>
                  <a:pt x="9107457" y="946150"/>
                </a:cubicBezTo>
                <a:cubicBezTo>
                  <a:pt x="9188447" y="946150"/>
                  <a:pt x="9188447" y="946150"/>
                  <a:pt x="9188447" y="946150"/>
                </a:cubicBezTo>
                <a:cubicBezTo>
                  <a:pt x="9188447" y="1261230"/>
                  <a:pt x="9188447" y="1261230"/>
                  <a:pt x="9188447" y="1261230"/>
                </a:cubicBezTo>
                <a:cubicBezTo>
                  <a:pt x="9188447" y="1321185"/>
                  <a:pt x="9166112" y="1373384"/>
                  <a:pt x="9128539" y="1410489"/>
                </a:cubicBezTo>
                <a:cubicBezTo>
                  <a:pt x="9090758" y="1447804"/>
                  <a:pt x="9038156" y="1470025"/>
                  <a:pt x="8977623" y="1470025"/>
                </a:cubicBezTo>
                <a:cubicBezTo>
                  <a:pt x="8917089" y="1470025"/>
                  <a:pt x="8864278" y="1447804"/>
                  <a:pt x="8826497" y="1410489"/>
                </a:cubicBezTo>
                <a:cubicBezTo>
                  <a:pt x="8788716" y="1373384"/>
                  <a:pt x="8766172" y="1321185"/>
                  <a:pt x="8766172" y="1261230"/>
                </a:cubicBezTo>
                <a:cubicBezTo>
                  <a:pt x="8766172" y="946150"/>
                  <a:pt x="8766172" y="946150"/>
                  <a:pt x="8766172" y="946150"/>
                </a:cubicBezTo>
                <a:close/>
                <a:moveTo>
                  <a:pt x="7737472" y="946150"/>
                </a:moveTo>
                <a:lnTo>
                  <a:pt x="7839072" y="946150"/>
                </a:lnTo>
                <a:lnTo>
                  <a:pt x="7958134" y="1139825"/>
                </a:lnTo>
                <a:lnTo>
                  <a:pt x="8077197" y="1333501"/>
                </a:lnTo>
                <a:lnTo>
                  <a:pt x="8077197" y="946150"/>
                </a:lnTo>
                <a:lnTo>
                  <a:pt x="8156572" y="946150"/>
                </a:lnTo>
                <a:lnTo>
                  <a:pt x="8156572" y="1458913"/>
                </a:lnTo>
                <a:lnTo>
                  <a:pt x="8061322" y="1458913"/>
                </a:lnTo>
                <a:lnTo>
                  <a:pt x="7939084" y="1260475"/>
                </a:lnTo>
                <a:lnTo>
                  <a:pt x="7815259" y="1062038"/>
                </a:lnTo>
                <a:lnTo>
                  <a:pt x="7815259" y="1458913"/>
                </a:lnTo>
                <a:lnTo>
                  <a:pt x="7737472" y="1458913"/>
                </a:lnTo>
                <a:close/>
                <a:moveTo>
                  <a:pt x="11253544" y="936625"/>
                </a:moveTo>
                <a:cubicBezTo>
                  <a:pt x="11284280" y="936625"/>
                  <a:pt x="11313343" y="940389"/>
                  <a:pt x="11340315" y="948334"/>
                </a:cubicBezTo>
                <a:cubicBezTo>
                  <a:pt x="11367287" y="956071"/>
                  <a:pt x="11391959" y="967989"/>
                  <a:pt x="11414331" y="984090"/>
                </a:cubicBezTo>
                <a:cubicBezTo>
                  <a:pt x="11392795" y="1017545"/>
                  <a:pt x="11392795" y="1017545"/>
                  <a:pt x="11392795" y="1017545"/>
                </a:cubicBezTo>
                <a:cubicBezTo>
                  <a:pt x="11371260" y="1051209"/>
                  <a:pt x="11371260" y="1051209"/>
                  <a:pt x="11371260" y="1051209"/>
                </a:cubicBezTo>
                <a:cubicBezTo>
                  <a:pt x="11354114" y="1038036"/>
                  <a:pt x="11335715" y="1028627"/>
                  <a:pt x="11316270" y="1022354"/>
                </a:cubicBezTo>
                <a:cubicBezTo>
                  <a:pt x="11296616" y="1016290"/>
                  <a:pt x="11275498" y="1013363"/>
                  <a:pt x="11252917" y="1013363"/>
                </a:cubicBezTo>
                <a:cubicBezTo>
                  <a:pt x="11201273" y="1013363"/>
                  <a:pt x="11155483" y="1034063"/>
                  <a:pt x="11122657" y="1067936"/>
                </a:cubicBezTo>
                <a:cubicBezTo>
                  <a:pt x="11089622" y="1102019"/>
                  <a:pt x="11069549" y="1149692"/>
                  <a:pt x="11069549" y="1203221"/>
                </a:cubicBezTo>
                <a:cubicBezTo>
                  <a:pt x="11069549" y="1256958"/>
                  <a:pt x="11088785" y="1304631"/>
                  <a:pt x="11120984" y="1338923"/>
                </a:cubicBezTo>
                <a:cubicBezTo>
                  <a:pt x="11153393" y="1373214"/>
                  <a:pt x="11198346" y="1394124"/>
                  <a:pt x="11249990" y="1394124"/>
                </a:cubicBezTo>
                <a:cubicBezTo>
                  <a:pt x="11297452" y="1394124"/>
                  <a:pt x="11335924" y="1378860"/>
                  <a:pt x="11364360" y="1353350"/>
                </a:cubicBezTo>
                <a:cubicBezTo>
                  <a:pt x="11392795" y="1328050"/>
                  <a:pt x="11410986" y="1292295"/>
                  <a:pt x="11418095" y="1251521"/>
                </a:cubicBezTo>
                <a:cubicBezTo>
                  <a:pt x="11244136" y="1251521"/>
                  <a:pt x="11244136" y="1251521"/>
                  <a:pt x="11244136" y="1251521"/>
                </a:cubicBezTo>
                <a:cubicBezTo>
                  <a:pt x="11267971" y="1214303"/>
                  <a:pt x="11267971" y="1214303"/>
                  <a:pt x="11267971" y="1214303"/>
                </a:cubicBezTo>
                <a:cubicBezTo>
                  <a:pt x="11291598" y="1177084"/>
                  <a:pt x="11291598" y="1177084"/>
                  <a:pt x="11291598" y="1177084"/>
                </a:cubicBezTo>
                <a:cubicBezTo>
                  <a:pt x="11496083" y="1177084"/>
                  <a:pt x="11496083" y="1177084"/>
                  <a:pt x="11496083" y="1177084"/>
                </a:cubicBezTo>
                <a:cubicBezTo>
                  <a:pt x="11497338" y="1181057"/>
                  <a:pt x="11498174" y="1186911"/>
                  <a:pt x="11498802" y="1193393"/>
                </a:cubicBezTo>
                <a:cubicBezTo>
                  <a:pt x="11499429" y="1199875"/>
                  <a:pt x="11499847" y="1206984"/>
                  <a:pt x="11499847" y="1213466"/>
                </a:cubicBezTo>
                <a:cubicBezTo>
                  <a:pt x="11499847" y="1286231"/>
                  <a:pt x="11474339" y="1350214"/>
                  <a:pt x="11430222" y="1396215"/>
                </a:cubicBezTo>
                <a:cubicBezTo>
                  <a:pt x="11386105" y="1442216"/>
                  <a:pt x="11323379" y="1470025"/>
                  <a:pt x="11249154" y="1470025"/>
                </a:cubicBezTo>
                <a:cubicBezTo>
                  <a:pt x="11175137" y="1470025"/>
                  <a:pt x="11109066" y="1440334"/>
                  <a:pt x="11061813" y="1392242"/>
                </a:cubicBezTo>
                <a:cubicBezTo>
                  <a:pt x="11014351" y="1344150"/>
                  <a:pt x="10985497" y="1277449"/>
                  <a:pt x="10985497" y="1203221"/>
                </a:cubicBezTo>
                <a:cubicBezTo>
                  <a:pt x="10985497" y="1129201"/>
                  <a:pt x="11015187" y="1062500"/>
                  <a:pt x="11063695" y="1014408"/>
                </a:cubicBezTo>
                <a:cubicBezTo>
                  <a:pt x="11111994" y="966317"/>
                  <a:pt x="11179110" y="936625"/>
                  <a:pt x="11253544" y="936625"/>
                </a:cubicBezTo>
                <a:close/>
                <a:moveTo>
                  <a:pt x="8471697" y="936625"/>
                </a:moveTo>
                <a:cubicBezTo>
                  <a:pt x="8502452" y="936625"/>
                  <a:pt x="8530906" y="941434"/>
                  <a:pt x="8556850" y="949798"/>
                </a:cubicBezTo>
                <a:cubicBezTo>
                  <a:pt x="8582793" y="958162"/>
                  <a:pt x="8606225" y="970080"/>
                  <a:pt x="8626729" y="984717"/>
                </a:cubicBezTo>
                <a:cubicBezTo>
                  <a:pt x="8626729" y="984717"/>
                  <a:pt x="8626729" y="984717"/>
                  <a:pt x="8606225" y="1017336"/>
                </a:cubicBezTo>
                <a:cubicBezTo>
                  <a:pt x="8606225" y="1017336"/>
                  <a:pt x="8606225" y="1017336"/>
                  <a:pt x="8585722" y="1049745"/>
                </a:cubicBezTo>
                <a:cubicBezTo>
                  <a:pt x="8566474" y="1037409"/>
                  <a:pt x="8547644" y="1027581"/>
                  <a:pt x="8528605" y="1021099"/>
                </a:cubicBezTo>
                <a:cubicBezTo>
                  <a:pt x="8509775" y="1014617"/>
                  <a:pt x="8490736" y="1011063"/>
                  <a:pt x="8471070" y="1011063"/>
                </a:cubicBezTo>
                <a:cubicBezTo>
                  <a:pt x="8441151" y="1011063"/>
                  <a:pt x="8418974" y="1019217"/>
                  <a:pt x="8404328" y="1032181"/>
                </a:cubicBezTo>
                <a:cubicBezTo>
                  <a:pt x="8389683" y="1045354"/>
                  <a:pt x="8382570" y="1063755"/>
                  <a:pt x="8382570" y="1084246"/>
                </a:cubicBezTo>
                <a:cubicBezTo>
                  <a:pt x="8382570" y="1108292"/>
                  <a:pt x="8393449" y="1123556"/>
                  <a:pt x="8412697" y="1135474"/>
                </a:cubicBezTo>
                <a:cubicBezTo>
                  <a:pt x="8432155" y="1147183"/>
                  <a:pt x="8459772" y="1155338"/>
                  <a:pt x="8493038" y="1165165"/>
                </a:cubicBezTo>
                <a:cubicBezTo>
                  <a:pt x="8532789" y="1177293"/>
                  <a:pt x="8571704" y="1190257"/>
                  <a:pt x="8600786" y="1212421"/>
                </a:cubicBezTo>
                <a:cubicBezTo>
                  <a:pt x="8629658" y="1234585"/>
                  <a:pt x="8648697" y="1265740"/>
                  <a:pt x="8648697" y="1314250"/>
                </a:cubicBezTo>
                <a:cubicBezTo>
                  <a:pt x="8648697" y="1359205"/>
                  <a:pt x="8632169" y="1398097"/>
                  <a:pt x="8601413" y="1425906"/>
                </a:cubicBezTo>
                <a:cubicBezTo>
                  <a:pt x="8570658" y="1453507"/>
                  <a:pt x="8525467" y="1470025"/>
                  <a:pt x="8468140" y="1470025"/>
                </a:cubicBezTo>
                <a:cubicBezTo>
                  <a:pt x="8427552" y="1470025"/>
                  <a:pt x="8393031" y="1463125"/>
                  <a:pt x="8363531" y="1452461"/>
                </a:cubicBezTo>
                <a:cubicBezTo>
                  <a:pt x="8333821" y="1441797"/>
                  <a:pt x="8308715" y="1427161"/>
                  <a:pt x="8286747" y="1411479"/>
                </a:cubicBezTo>
                <a:cubicBezTo>
                  <a:pt x="8286747" y="1411479"/>
                  <a:pt x="8286747" y="1411479"/>
                  <a:pt x="8307251" y="1379069"/>
                </a:cubicBezTo>
                <a:cubicBezTo>
                  <a:pt x="8307251" y="1379069"/>
                  <a:pt x="8307251" y="1379069"/>
                  <a:pt x="8327754" y="1346450"/>
                </a:cubicBezTo>
                <a:cubicBezTo>
                  <a:pt x="8349931" y="1360669"/>
                  <a:pt x="8372318" y="1373005"/>
                  <a:pt x="8395541" y="1381578"/>
                </a:cubicBezTo>
                <a:cubicBezTo>
                  <a:pt x="8418765" y="1390360"/>
                  <a:pt x="8442825" y="1395378"/>
                  <a:pt x="8468768" y="1395378"/>
                </a:cubicBezTo>
                <a:cubicBezTo>
                  <a:pt x="8500569" y="1395378"/>
                  <a:pt x="8525048" y="1387224"/>
                  <a:pt x="8541367" y="1373633"/>
                </a:cubicBezTo>
                <a:cubicBezTo>
                  <a:pt x="8557686" y="1360041"/>
                  <a:pt x="8566055" y="1341014"/>
                  <a:pt x="8566055" y="1319477"/>
                </a:cubicBezTo>
                <a:cubicBezTo>
                  <a:pt x="8566055" y="1295640"/>
                  <a:pt x="8554967" y="1280376"/>
                  <a:pt x="8535509" y="1268458"/>
                </a:cubicBezTo>
                <a:cubicBezTo>
                  <a:pt x="8516261" y="1256540"/>
                  <a:pt x="8488644" y="1248176"/>
                  <a:pt x="8455587" y="1238348"/>
                </a:cubicBezTo>
                <a:cubicBezTo>
                  <a:pt x="8415417" y="1226221"/>
                  <a:pt x="8376502" y="1213466"/>
                  <a:pt x="8347630" y="1191511"/>
                </a:cubicBezTo>
                <a:cubicBezTo>
                  <a:pt x="8318758" y="1169556"/>
                  <a:pt x="8299928" y="1138192"/>
                  <a:pt x="8299928" y="1089264"/>
                </a:cubicBezTo>
                <a:cubicBezTo>
                  <a:pt x="8299928" y="1044727"/>
                  <a:pt x="8315829" y="1006463"/>
                  <a:pt x="8345329" y="979489"/>
                </a:cubicBezTo>
                <a:cubicBezTo>
                  <a:pt x="8374828" y="952516"/>
                  <a:pt x="8417718" y="936625"/>
                  <a:pt x="8471697" y="936625"/>
                </a:cubicBezTo>
                <a:close/>
                <a:moveTo>
                  <a:pt x="7349808" y="936625"/>
                </a:moveTo>
                <a:cubicBezTo>
                  <a:pt x="7424849" y="936625"/>
                  <a:pt x="7492344" y="966526"/>
                  <a:pt x="7541183" y="1014826"/>
                </a:cubicBezTo>
                <a:cubicBezTo>
                  <a:pt x="7590023" y="1063127"/>
                  <a:pt x="7619997" y="1129828"/>
                  <a:pt x="7619997" y="1203221"/>
                </a:cubicBezTo>
                <a:cubicBezTo>
                  <a:pt x="7619997" y="1276613"/>
                  <a:pt x="7590023" y="1343314"/>
                  <a:pt x="7541183" y="1391615"/>
                </a:cubicBezTo>
                <a:cubicBezTo>
                  <a:pt x="7492344" y="1440125"/>
                  <a:pt x="7424849" y="1470025"/>
                  <a:pt x="7349808" y="1470025"/>
                </a:cubicBezTo>
                <a:cubicBezTo>
                  <a:pt x="7274767" y="1470025"/>
                  <a:pt x="7207272" y="1440125"/>
                  <a:pt x="7158642" y="1391615"/>
                </a:cubicBezTo>
                <a:cubicBezTo>
                  <a:pt x="7110012" y="1343314"/>
                  <a:pt x="7080247" y="1276613"/>
                  <a:pt x="7080247" y="1203221"/>
                </a:cubicBezTo>
                <a:cubicBezTo>
                  <a:pt x="7080247" y="1129828"/>
                  <a:pt x="7110012" y="1063127"/>
                  <a:pt x="7158642" y="1014826"/>
                </a:cubicBezTo>
                <a:cubicBezTo>
                  <a:pt x="7207272" y="966526"/>
                  <a:pt x="7274767" y="936625"/>
                  <a:pt x="7349808" y="936625"/>
                </a:cubicBezTo>
                <a:close/>
                <a:moveTo>
                  <a:pt x="6837427" y="936625"/>
                </a:moveTo>
                <a:cubicBezTo>
                  <a:pt x="6874092" y="936625"/>
                  <a:pt x="6904891" y="941852"/>
                  <a:pt x="6932756" y="951680"/>
                </a:cubicBezTo>
                <a:cubicBezTo>
                  <a:pt x="6960412" y="961507"/>
                  <a:pt x="6984925" y="975726"/>
                  <a:pt x="7008810" y="993499"/>
                </a:cubicBezTo>
                <a:cubicBezTo>
                  <a:pt x="7008810" y="993499"/>
                  <a:pt x="7008810" y="993499"/>
                  <a:pt x="6987439" y="1026745"/>
                </a:cubicBezTo>
                <a:cubicBezTo>
                  <a:pt x="6987439" y="1026745"/>
                  <a:pt x="6987439" y="1026745"/>
                  <a:pt x="6966278" y="1059991"/>
                </a:cubicBezTo>
                <a:cubicBezTo>
                  <a:pt x="6946584" y="1044727"/>
                  <a:pt x="6926680" y="1032809"/>
                  <a:pt x="6904891" y="1024863"/>
                </a:cubicBezTo>
                <a:cubicBezTo>
                  <a:pt x="6883101" y="1016708"/>
                  <a:pt x="6859845" y="1012526"/>
                  <a:pt x="6833027" y="1012526"/>
                </a:cubicBezTo>
                <a:cubicBezTo>
                  <a:pt x="6782115" y="1012526"/>
                  <a:pt x="6736441" y="1033436"/>
                  <a:pt x="6703338" y="1067727"/>
                </a:cubicBezTo>
                <a:cubicBezTo>
                  <a:pt x="6670444" y="1102019"/>
                  <a:pt x="6649912" y="1149483"/>
                  <a:pt x="6649912" y="1203221"/>
                </a:cubicBezTo>
                <a:cubicBezTo>
                  <a:pt x="6649912" y="1256958"/>
                  <a:pt x="6670444" y="1304631"/>
                  <a:pt x="6703338" y="1338923"/>
                </a:cubicBezTo>
                <a:cubicBezTo>
                  <a:pt x="6736441" y="1373214"/>
                  <a:pt x="6782115" y="1393915"/>
                  <a:pt x="6833027" y="1393915"/>
                </a:cubicBezTo>
                <a:cubicBezTo>
                  <a:pt x="6859845" y="1393915"/>
                  <a:pt x="6883101" y="1389733"/>
                  <a:pt x="6904891" y="1381787"/>
                </a:cubicBezTo>
                <a:cubicBezTo>
                  <a:pt x="6926680" y="1373633"/>
                  <a:pt x="6946584" y="1361923"/>
                  <a:pt x="6966278" y="1346450"/>
                </a:cubicBezTo>
                <a:cubicBezTo>
                  <a:pt x="6966278" y="1346450"/>
                  <a:pt x="6966278" y="1346450"/>
                  <a:pt x="6987439" y="1379696"/>
                </a:cubicBezTo>
                <a:cubicBezTo>
                  <a:pt x="6987439" y="1379696"/>
                  <a:pt x="6987439" y="1379696"/>
                  <a:pt x="7008810" y="1412942"/>
                </a:cubicBezTo>
                <a:cubicBezTo>
                  <a:pt x="6984925" y="1430924"/>
                  <a:pt x="6960412" y="1445143"/>
                  <a:pt x="6932756" y="1454970"/>
                </a:cubicBezTo>
                <a:cubicBezTo>
                  <a:pt x="6904891" y="1464589"/>
                  <a:pt x="6874092" y="1470025"/>
                  <a:pt x="6837427" y="1470025"/>
                </a:cubicBezTo>
                <a:cubicBezTo>
                  <a:pt x="6761373" y="1470025"/>
                  <a:pt x="6693491" y="1440334"/>
                  <a:pt x="6644674" y="1392242"/>
                </a:cubicBezTo>
                <a:cubicBezTo>
                  <a:pt x="6595648" y="1344150"/>
                  <a:pt x="6565897" y="1277449"/>
                  <a:pt x="6565897" y="1203221"/>
                </a:cubicBezTo>
                <a:cubicBezTo>
                  <a:pt x="6565897" y="1129201"/>
                  <a:pt x="6595648" y="1062500"/>
                  <a:pt x="6644674" y="1014408"/>
                </a:cubicBezTo>
                <a:cubicBezTo>
                  <a:pt x="6693491" y="966107"/>
                  <a:pt x="6761373" y="936625"/>
                  <a:pt x="6837427" y="936625"/>
                </a:cubicBezTo>
                <a:close/>
                <a:moveTo>
                  <a:pt x="501650" y="477838"/>
                </a:moveTo>
                <a:cubicBezTo>
                  <a:pt x="501650" y="477838"/>
                  <a:pt x="501650" y="477838"/>
                  <a:pt x="501650" y="981076"/>
                </a:cubicBezTo>
                <a:cubicBezTo>
                  <a:pt x="501650" y="981076"/>
                  <a:pt x="501650" y="981076"/>
                  <a:pt x="786010" y="981076"/>
                </a:cubicBezTo>
                <a:cubicBezTo>
                  <a:pt x="786010" y="981076"/>
                  <a:pt x="786010" y="981076"/>
                  <a:pt x="1070579" y="981076"/>
                </a:cubicBezTo>
                <a:cubicBezTo>
                  <a:pt x="1142870" y="981076"/>
                  <a:pt x="1207013" y="953710"/>
                  <a:pt x="1253188" y="908588"/>
                </a:cubicBezTo>
                <a:cubicBezTo>
                  <a:pt x="1299153" y="863466"/>
                  <a:pt x="1327150" y="800169"/>
                  <a:pt x="1327150" y="727681"/>
                </a:cubicBezTo>
                <a:cubicBezTo>
                  <a:pt x="1327150" y="655402"/>
                  <a:pt x="1299153" y="592942"/>
                  <a:pt x="1253188" y="548446"/>
                </a:cubicBezTo>
                <a:cubicBezTo>
                  <a:pt x="1207013" y="503951"/>
                  <a:pt x="1142870" y="477838"/>
                  <a:pt x="1070579" y="477838"/>
                </a:cubicBezTo>
                <a:cubicBezTo>
                  <a:pt x="1070579" y="477838"/>
                  <a:pt x="1070579" y="477838"/>
                  <a:pt x="501650" y="477838"/>
                </a:cubicBezTo>
                <a:close/>
                <a:moveTo>
                  <a:pt x="6675435" y="336550"/>
                </a:moveTo>
                <a:cubicBezTo>
                  <a:pt x="6675435" y="487363"/>
                  <a:pt x="6675435" y="487363"/>
                  <a:pt x="6675435" y="487363"/>
                </a:cubicBezTo>
                <a:cubicBezTo>
                  <a:pt x="6808467" y="487363"/>
                  <a:pt x="6808467" y="487363"/>
                  <a:pt x="6808467" y="487363"/>
                </a:cubicBezTo>
                <a:cubicBezTo>
                  <a:pt x="6831475" y="487363"/>
                  <a:pt x="6851346" y="478985"/>
                  <a:pt x="6865570" y="465370"/>
                </a:cubicBezTo>
                <a:cubicBezTo>
                  <a:pt x="6879793" y="451755"/>
                  <a:pt x="6888160" y="432903"/>
                  <a:pt x="6888160" y="411957"/>
                </a:cubicBezTo>
                <a:cubicBezTo>
                  <a:pt x="6888160" y="390801"/>
                  <a:pt x="6879793" y="371949"/>
                  <a:pt x="6865570" y="358334"/>
                </a:cubicBezTo>
                <a:cubicBezTo>
                  <a:pt x="6851346" y="344719"/>
                  <a:pt x="6831475" y="336550"/>
                  <a:pt x="6808467" y="336550"/>
                </a:cubicBezTo>
                <a:cubicBezTo>
                  <a:pt x="6675435" y="336550"/>
                  <a:pt x="6675435" y="336550"/>
                  <a:pt x="6675435" y="336550"/>
                </a:cubicBezTo>
                <a:close/>
                <a:moveTo>
                  <a:pt x="6675435" y="122238"/>
                </a:moveTo>
                <a:cubicBezTo>
                  <a:pt x="6675435" y="265113"/>
                  <a:pt x="6675435" y="265113"/>
                  <a:pt x="6675435" y="265113"/>
                </a:cubicBezTo>
                <a:cubicBezTo>
                  <a:pt x="6795279" y="265113"/>
                  <a:pt x="6795279" y="265113"/>
                  <a:pt x="6795279" y="265113"/>
                </a:cubicBezTo>
                <a:cubicBezTo>
                  <a:pt x="6816822" y="265113"/>
                  <a:pt x="6835228" y="257396"/>
                  <a:pt x="6848404" y="244673"/>
                </a:cubicBezTo>
                <a:cubicBezTo>
                  <a:pt x="6861372" y="231949"/>
                  <a:pt x="6869110" y="214012"/>
                  <a:pt x="6869110" y="193571"/>
                </a:cubicBezTo>
                <a:cubicBezTo>
                  <a:pt x="6869110" y="173131"/>
                  <a:pt x="6861372" y="155402"/>
                  <a:pt x="6848404" y="142679"/>
                </a:cubicBezTo>
                <a:cubicBezTo>
                  <a:pt x="6835228" y="129747"/>
                  <a:pt x="6816822" y="122238"/>
                  <a:pt x="6795279" y="122238"/>
                </a:cubicBezTo>
                <a:cubicBezTo>
                  <a:pt x="6675435" y="122238"/>
                  <a:pt x="6675435" y="122238"/>
                  <a:pt x="6675435" y="122238"/>
                </a:cubicBezTo>
                <a:close/>
                <a:moveTo>
                  <a:pt x="8850791" y="114300"/>
                </a:moveTo>
                <a:cubicBezTo>
                  <a:pt x="8799203" y="114300"/>
                  <a:pt x="8753045" y="135269"/>
                  <a:pt x="8719837" y="169657"/>
                </a:cubicBezTo>
                <a:cubicBezTo>
                  <a:pt x="8686419" y="204046"/>
                  <a:pt x="8666160" y="251645"/>
                  <a:pt x="8666160" y="304905"/>
                </a:cubicBezTo>
                <a:cubicBezTo>
                  <a:pt x="8666160" y="357956"/>
                  <a:pt x="8686419" y="405554"/>
                  <a:pt x="8719837" y="439943"/>
                </a:cubicBezTo>
                <a:cubicBezTo>
                  <a:pt x="8753045" y="474332"/>
                  <a:pt x="8799203" y="495300"/>
                  <a:pt x="8850791" y="495300"/>
                </a:cubicBezTo>
                <a:cubicBezTo>
                  <a:pt x="8902588" y="495300"/>
                  <a:pt x="8948954" y="474541"/>
                  <a:pt x="8982163" y="440153"/>
                </a:cubicBezTo>
                <a:cubicBezTo>
                  <a:pt x="9015580" y="405974"/>
                  <a:pt x="9036048" y="358375"/>
                  <a:pt x="9036048" y="304905"/>
                </a:cubicBezTo>
                <a:cubicBezTo>
                  <a:pt x="9036048" y="251645"/>
                  <a:pt x="9015371" y="204046"/>
                  <a:pt x="8981954" y="169657"/>
                </a:cubicBezTo>
                <a:cubicBezTo>
                  <a:pt x="8948536" y="135269"/>
                  <a:pt x="8902170" y="114300"/>
                  <a:pt x="8850791" y="114300"/>
                </a:cubicBezTo>
                <a:close/>
                <a:moveTo>
                  <a:pt x="7335415" y="114300"/>
                </a:moveTo>
                <a:cubicBezTo>
                  <a:pt x="7283845" y="114300"/>
                  <a:pt x="7237515" y="135269"/>
                  <a:pt x="7203974" y="169657"/>
                </a:cubicBezTo>
                <a:cubicBezTo>
                  <a:pt x="7170642" y="204046"/>
                  <a:pt x="7150097" y="251645"/>
                  <a:pt x="7150097" y="304905"/>
                </a:cubicBezTo>
                <a:cubicBezTo>
                  <a:pt x="7150097" y="357956"/>
                  <a:pt x="7170642" y="405554"/>
                  <a:pt x="7203974" y="439943"/>
                </a:cubicBezTo>
                <a:cubicBezTo>
                  <a:pt x="7237515" y="474332"/>
                  <a:pt x="7283845" y="495300"/>
                  <a:pt x="7335415" y="495300"/>
                </a:cubicBezTo>
                <a:cubicBezTo>
                  <a:pt x="7387405" y="495300"/>
                  <a:pt x="7433944" y="474541"/>
                  <a:pt x="7467486" y="440153"/>
                </a:cubicBezTo>
                <a:cubicBezTo>
                  <a:pt x="7501028" y="405974"/>
                  <a:pt x="7521572" y="358375"/>
                  <a:pt x="7521572" y="304905"/>
                </a:cubicBezTo>
                <a:cubicBezTo>
                  <a:pt x="7521572" y="251645"/>
                  <a:pt x="7500818" y="204046"/>
                  <a:pt x="7467067" y="169657"/>
                </a:cubicBezTo>
                <a:cubicBezTo>
                  <a:pt x="7433525" y="135269"/>
                  <a:pt x="7386986" y="114300"/>
                  <a:pt x="7335415" y="114300"/>
                </a:cubicBezTo>
                <a:close/>
                <a:moveTo>
                  <a:pt x="9237660" y="49213"/>
                </a:moveTo>
                <a:lnTo>
                  <a:pt x="9339260" y="49213"/>
                </a:lnTo>
                <a:lnTo>
                  <a:pt x="9458322" y="242888"/>
                </a:lnTo>
                <a:lnTo>
                  <a:pt x="9578972" y="436563"/>
                </a:lnTo>
                <a:lnTo>
                  <a:pt x="9578972" y="49213"/>
                </a:lnTo>
                <a:lnTo>
                  <a:pt x="9656760" y="49213"/>
                </a:lnTo>
                <a:lnTo>
                  <a:pt x="9656760" y="560388"/>
                </a:lnTo>
                <a:lnTo>
                  <a:pt x="9561510" y="560388"/>
                </a:lnTo>
                <a:lnTo>
                  <a:pt x="9439272" y="363538"/>
                </a:lnTo>
                <a:lnTo>
                  <a:pt x="9317035" y="165101"/>
                </a:lnTo>
                <a:lnTo>
                  <a:pt x="9317035" y="560388"/>
                </a:lnTo>
                <a:lnTo>
                  <a:pt x="9237660" y="560388"/>
                </a:lnTo>
                <a:close/>
                <a:moveTo>
                  <a:pt x="8126410" y="49213"/>
                </a:moveTo>
                <a:lnTo>
                  <a:pt x="8529635" y="49213"/>
                </a:lnTo>
                <a:lnTo>
                  <a:pt x="8529635" y="125413"/>
                </a:lnTo>
                <a:lnTo>
                  <a:pt x="8369298" y="125413"/>
                </a:lnTo>
                <a:lnTo>
                  <a:pt x="8369298" y="560388"/>
                </a:lnTo>
                <a:lnTo>
                  <a:pt x="8285160" y="560388"/>
                </a:lnTo>
                <a:lnTo>
                  <a:pt x="8285160" y="125413"/>
                </a:lnTo>
                <a:lnTo>
                  <a:pt x="8126410" y="125413"/>
                </a:lnTo>
                <a:close/>
                <a:moveTo>
                  <a:pt x="6592885" y="49213"/>
                </a:moveTo>
                <a:cubicBezTo>
                  <a:pt x="6795851" y="49213"/>
                  <a:pt x="6795851" y="49213"/>
                  <a:pt x="6795851" y="49213"/>
                </a:cubicBezTo>
                <a:cubicBezTo>
                  <a:pt x="6840537" y="49213"/>
                  <a:pt x="6879794" y="63633"/>
                  <a:pt x="6907775" y="87875"/>
                </a:cubicBezTo>
                <a:cubicBezTo>
                  <a:pt x="6935756" y="112117"/>
                  <a:pt x="6952670" y="146182"/>
                  <a:pt x="6952670" y="185680"/>
                </a:cubicBezTo>
                <a:cubicBezTo>
                  <a:pt x="6952670" y="208041"/>
                  <a:pt x="6946823" y="228103"/>
                  <a:pt x="6936382" y="245658"/>
                </a:cubicBezTo>
                <a:cubicBezTo>
                  <a:pt x="6925733" y="263004"/>
                  <a:pt x="6910698" y="277633"/>
                  <a:pt x="6892114" y="288709"/>
                </a:cubicBezTo>
                <a:cubicBezTo>
                  <a:pt x="6916963" y="300621"/>
                  <a:pt x="6937009" y="318176"/>
                  <a:pt x="6950791" y="339492"/>
                </a:cubicBezTo>
                <a:cubicBezTo>
                  <a:pt x="6964572" y="360808"/>
                  <a:pt x="6972298" y="385677"/>
                  <a:pt x="6972298" y="412845"/>
                </a:cubicBezTo>
                <a:cubicBezTo>
                  <a:pt x="6972298" y="454015"/>
                  <a:pt x="6955384" y="491005"/>
                  <a:pt x="6926359" y="517546"/>
                </a:cubicBezTo>
                <a:cubicBezTo>
                  <a:pt x="6897543" y="544087"/>
                  <a:pt x="6856616" y="560388"/>
                  <a:pt x="6808798" y="560388"/>
                </a:cubicBezTo>
                <a:cubicBezTo>
                  <a:pt x="6592885" y="560388"/>
                  <a:pt x="6592885" y="560388"/>
                  <a:pt x="6592885" y="560388"/>
                </a:cubicBezTo>
                <a:cubicBezTo>
                  <a:pt x="6592885" y="49213"/>
                  <a:pt x="6592885" y="49213"/>
                  <a:pt x="6592885" y="49213"/>
                </a:cubicBezTo>
                <a:close/>
                <a:moveTo>
                  <a:pt x="8850790" y="38100"/>
                </a:moveTo>
                <a:cubicBezTo>
                  <a:pt x="8925610" y="38100"/>
                  <a:pt x="8992907" y="68001"/>
                  <a:pt x="9041603" y="116301"/>
                </a:cubicBezTo>
                <a:cubicBezTo>
                  <a:pt x="9090299" y="164602"/>
                  <a:pt x="9120185" y="231303"/>
                  <a:pt x="9120185" y="304905"/>
                </a:cubicBezTo>
                <a:cubicBezTo>
                  <a:pt x="9120185" y="378297"/>
                  <a:pt x="9090299" y="444998"/>
                  <a:pt x="9041603" y="493090"/>
                </a:cubicBezTo>
                <a:cubicBezTo>
                  <a:pt x="8992907" y="541600"/>
                  <a:pt x="8925610" y="571500"/>
                  <a:pt x="8850790" y="571500"/>
                </a:cubicBezTo>
                <a:cubicBezTo>
                  <a:pt x="8775761" y="571500"/>
                  <a:pt x="8708673" y="541600"/>
                  <a:pt x="8660186" y="493090"/>
                </a:cubicBezTo>
                <a:cubicBezTo>
                  <a:pt x="8611699" y="444998"/>
                  <a:pt x="8582022" y="378297"/>
                  <a:pt x="8582022" y="304905"/>
                </a:cubicBezTo>
                <a:cubicBezTo>
                  <a:pt x="8582022" y="231303"/>
                  <a:pt x="8611699" y="164602"/>
                  <a:pt x="8660186" y="116301"/>
                </a:cubicBezTo>
                <a:cubicBezTo>
                  <a:pt x="8708673" y="68001"/>
                  <a:pt x="8775761" y="38100"/>
                  <a:pt x="8850790" y="38100"/>
                </a:cubicBezTo>
                <a:close/>
                <a:moveTo>
                  <a:pt x="7870035" y="38100"/>
                </a:moveTo>
                <a:cubicBezTo>
                  <a:pt x="7871499" y="38100"/>
                  <a:pt x="7871499" y="38100"/>
                  <a:pt x="7871499" y="38100"/>
                </a:cubicBezTo>
                <a:cubicBezTo>
                  <a:pt x="7901627" y="38309"/>
                  <a:pt x="7929663" y="42909"/>
                  <a:pt x="7955187" y="51273"/>
                </a:cubicBezTo>
                <a:cubicBezTo>
                  <a:pt x="7981131" y="59637"/>
                  <a:pt x="8004563" y="71764"/>
                  <a:pt x="8025067" y="86401"/>
                </a:cubicBezTo>
                <a:cubicBezTo>
                  <a:pt x="8004563" y="118811"/>
                  <a:pt x="8004563" y="118811"/>
                  <a:pt x="8004563" y="118811"/>
                </a:cubicBezTo>
                <a:cubicBezTo>
                  <a:pt x="7984060" y="151429"/>
                  <a:pt x="7984060" y="151429"/>
                  <a:pt x="7984060" y="151429"/>
                </a:cubicBezTo>
                <a:cubicBezTo>
                  <a:pt x="7964811" y="138884"/>
                  <a:pt x="7945982" y="129265"/>
                  <a:pt x="7926943" y="122574"/>
                </a:cubicBezTo>
                <a:cubicBezTo>
                  <a:pt x="7908113" y="116092"/>
                  <a:pt x="7889074" y="112538"/>
                  <a:pt x="7869198" y="112538"/>
                </a:cubicBezTo>
                <a:cubicBezTo>
                  <a:pt x="7839280" y="112538"/>
                  <a:pt x="7817312" y="120692"/>
                  <a:pt x="7802666" y="133865"/>
                </a:cubicBezTo>
                <a:cubicBezTo>
                  <a:pt x="7788021" y="147038"/>
                  <a:pt x="7780907" y="165230"/>
                  <a:pt x="7780907" y="185721"/>
                </a:cubicBezTo>
                <a:cubicBezTo>
                  <a:pt x="7780907" y="209767"/>
                  <a:pt x="7791787" y="225031"/>
                  <a:pt x="7811035" y="236949"/>
                </a:cubicBezTo>
                <a:cubicBezTo>
                  <a:pt x="7830283" y="248658"/>
                  <a:pt x="7857900" y="257022"/>
                  <a:pt x="7891166" y="266849"/>
                </a:cubicBezTo>
                <a:cubicBezTo>
                  <a:pt x="7931127" y="278977"/>
                  <a:pt x="7970042" y="291941"/>
                  <a:pt x="7998914" y="313896"/>
                </a:cubicBezTo>
                <a:cubicBezTo>
                  <a:pt x="8027996" y="336060"/>
                  <a:pt x="8047035" y="367424"/>
                  <a:pt x="8047035" y="415934"/>
                </a:cubicBezTo>
                <a:cubicBezTo>
                  <a:pt x="8047035" y="460889"/>
                  <a:pt x="8030506" y="499781"/>
                  <a:pt x="7999751" y="527381"/>
                </a:cubicBezTo>
                <a:cubicBezTo>
                  <a:pt x="7968787" y="554982"/>
                  <a:pt x="7923804" y="571500"/>
                  <a:pt x="7866478" y="571500"/>
                </a:cubicBezTo>
                <a:cubicBezTo>
                  <a:pt x="7825890" y="571500"/>
                  <a:pt x="7791368" y="564809"/>
                  <a:pt x="7761659" y="554145"/>
                </a:cubicBezTo>
                <a:cubicBezTo>
                  <a:pt x="7731950" y="543272"/>
                  <a:pt x="7707053" y="528845"/>
                  <a:pt x="7685085" y="512954"/>
                </a:cubicBezTo>
                <a:cubicBezTo>
                  <a:pt x="7725883" y="447925"/>
                  <a:pt x="7725883" y="447925"/>
                  <a:pt x="7725883" y="447925"/>
                </a:cubicBezTo>
                <a:cubicBezTo>
                  <a:pt x="7748269" y="462353"/>
                  <a:pt x="7770656" y="474480"/>
                  <a:pt x="7793879" y="483053"/>
                </a:cubicBezTo>
                <a:cubicBezTo>
                  <a:pt x="7816893" y="491835"/>
                  <a:pt x="7841163" y="497063"/>
                  <a:pt x="7867106" y="497063"/>
                </a:cubicBezTo>
                <a:cubicBezTo>
                  <a:pt x="7898907" y="497063"/>
                  <a:pt x="7923177" y="488699"/>
                  <a:pt x="7939496" y="475108"/>
                </a:cubicBezTo>
                <a:cubicBezTo>
                  <a:pt x="7956024" y="461516"/>
                  <a:pt x="7964393" y="442489"/>
                  <a:pt x="7964393" y="420952"/>
                </a:cubicBezTo>
                <a:cubicBezTo>
                  <a:pt x="7964393" y="397324"/>
                  <a:pt x="7953095" y="381851"/>
                  <a:pt x="7933847" y="369933"/>
                </a:cubicBezTo>
                <a:cubicBezTo>
                  <a:pt x="7914389" y="358224"/>
                  <a:pt x="7886982" y="349860"/>
                  <a:pt x="7853925" y="339823"/>
                </a:cubicBezTo>
                <a:cubicBezTo>
                  <a:pt x="7813755" y="327696"/>
                  <a:pt x="7774840" y="314941"/>
                  <a:pt x="7745968" y="292986"/>
                </a:cubicBezTo>
                <a:cubicBezTo>
                  <a:pt x="7717095" y="271031"/>
                  <a:pt x="7698266" y="239667"/>
                  <a:pt x="7698266" y="190739"/>
                </a:cubicBezTo>
                <a:cubicBezTo>
                  <a:pt x="7698266" y="146202"/>
                  <a:pt x="7714166" y="107938"/>
                  <a:pt x="7743666" y="80964"/>
                </a:cubicBezTo>
                <a:cubicBezTo>
                  <a:pt x="7772957" y="53991"/>
                  <a:pt x="7815847" y="38100"/>
                  <a:pt x="7870035" y="38100"/>
                </a:cubicBezTo>
                <a:close/>
                <a:moveTo>
                  <a:pt x="7334624" y="38100"/>
                </a:moveTo>
                <a:cubicBezTo>
                  <a:pt x="7409415" y="38100"/>
                  <a:pt x="7476894" y="68001"/>
                  <a:pt x="7525363" y="116301"/>
                </a:cubicBezTo>
                <a:cubicBezTo>
                  <a:pt x="7574040" y="164602"/>
                  <a:pt x="7604123" y="231303"/>
                  <a:pt x="7604123" y="304905"/>
                </a:cubicBezTo>
                <a:cubicBezTo>
                  <a:pt x="7604123" y="378297"/>
                  <a:pt x="7574040" y="444998"/>
                  <a:pt x="7525363" y="493090"/>
                </a:cubicBezTo>
                <a:cubicBezTo>
                  <a:pt x="7476894" y="541600"/>
                  <a:pt x="7409415" y="571500"/>
                  <a:pt x="7334624" y="571500"/>
                </a:cubicBezTo>
                <a:cubicBezTo>
                  <a:pt x="7259833" y="571500"/>
                  <a:pt x="7192562" y="541600"/>
                  <a:pt x="7144094" y="493090"/>
                </a:cubicBezTo>
                <a:cubicBezTo>
                  <a:pt x="7095626" y="444998"/>
                  <a:pt x="7065960" y="378297"/>
                  <a:pt x="7065960" y="304905"/>
                </a:cubicBezTo>
                <a:cubicBezTo>
                  <a:pt x="7065960" y="231303"/>
                  <a:pt x="7095626" y="164602"/>
                  <a:pt x="7144094" y="116301"/>
                </a:cubicBezTo>
                <a:cubicBezTo>
                  <a:pt x="7192562" y="68001"/>
                  <a:pt x="7259833" y="38100"/>
                  <a:pt x="7334624" y="38100"/>
                </a:cubicBezTo>
                <a:close/>
                <a:moveTo>
                  <a:pt x="2766077" y="0"/>
                </a:moveTo>
                <a:cubicBezTo>
                  <a:pt x="2901191" y="0"/>
                  <a:pt x="3028777" y="17359"/>
                  <a:pt x="3146531" y="51449"/>
                </a:cubicBezTo>
                <a:cubicBezTo>
                  <a:pt x="3264077" y="85540"/>
                  <a:pt x="3372000" y="136571"/>
                  <a:pt x="3467375" y="204124"/>
                </a:cubicBezTo>
                <a:cubicBezTo>
                  <a:pt x="3467375" y="204124"/>
                  <a:pt x="3467375" y="204124"/>
                  <a:pt x="3340627" y="403228"/>
                </a:cubicBezTo>
                <a:cubicBezTo>
                  <a:pt x="3340627" y="403228"/>
                  <a:pt x="3340627" y="403228"/>
                  <a:pt x="3213880" y="602542"/>
                </a:cubicBezTo>
                <a:cubicBezTo>
                  <a:pt x="3153015" y="556321"/>
                  <a:pt x="3084622" y="520976"/>
                  <a:pt x="3009743" y="496716"/>
                </a:cubicBezTo>
                <a:cubicBezTo>
                  <a:pt x="2934865" y="472455"/>
                  <a:pt x="2853295" y="459279"/>
                  <a:pt x="2766077" y="457606"/>
                </a:cubicBezTo>
                <a:cubicBezTo>
                  <a:pt x="2556923" y="459279"/>
                  <a:pt x="2368473" y="545655"/>
                  <a:pt x="2232314" y="681180"/>
                </a:cubicBezTo>
                <a:cubicBezTo>
                  <a:pt x="2095946" y="816496"/>
                  <a:pt x="2012073" y="1000960"/>
                  <a:pt x="2012073" y="1198391"/>
                </a:cubicBezTo>
                <a:cubicBezTo>
                  <a:pt x="2012073" y="1399378"/>
                  <a:pt x="2095946" y="1585307"/>
                  <a:pt x="2232314" y="1721250"/>
                </a:cubicBezTo>
                <a:cubicBezTo>
                  <a:pt x="2368473" y="1856984"/>
                  <a:pt x="2556923" y="1942732"/>
                  <a:pt x="2766077" y="1942732"/>
                </a:cubicBezTo>
                <a:cubicBezTo>
                  <a:pt x="2868145" y="1942732"/>
                  <a:pt x="2962893" y="1923700"/>
                  <a:pt x="3050111" y="1886682"/>
                </a:cubicBezTo>
                <a:cubicBezTo>
                  <a:pt x="3137328" y="1849664"/>
                  <a:pt x="3217225" y="1794450"/>
                  <a:pt x="3289594" y="1722086"/>
                </a:cubicBezTo>
                <a:cubicBezTo>
                  <a:pt x="3462565" y="1549125"/>
                  <a:pt x="3493101" y="1332661"/>
                  <a:pt x="3543925" y="1095493"/>
                </a:cubicBezTo>
                <a:cubicBezTo>
                  <a:pt x="3595168" y="858533"/>
                  <a:pt x="3666699" y="600869"/>
                  <a:pt x="3921866" y="345714"/>
                </a:cubicBezTo>
                <a:cubicBezTo>
                  <a:pt x="4028953" y="238633"/>
                  <a:pt x="4155701" y="152256"/>
                  <a:pt x="4300646" y="92441"/>
                </a:cubicBezTo>
                <a:cubicBezTo>
                  <a:pt x="4445590" y="32836"/>
                  <a:pt x="4608522" y="0"/>
                  <a:pt x="4787977" y="0"/>
                </a:cubicBezTo>
                <a:cubicBezTo>
                  <a:pt x="4922882" y="0"/>
                  <a:pt x="5050676" y="18823"/>
                  <a:pt x="5168221" y="54796"/>
                </a:cubicBezTo>
                <a:cubicBezTo>
                  <a:pt x="5285976" y="90559"/>
                  <a:pt x="5393900" y="143054"/>
                  <a:pt x="5489275" y="210607"/>
                </a:cubicBezTo>
                <a:cubicBezTo>
                  <a:pt x="5489275" y="210607"/>
                  <a:pt x="5489275" y="210607"/>
                  <a:pt x="5364200" y="409921"/>
                </a:cubicBezTo>
                <a:cubicBezTo>
                  <a:pt x="5364200" y="409921"/>
                  <a:pt x="5364200" y="409921"/>
                  <a:pt x="5239125" y="609025"/>
                </a:cubicBezTo>
                <a:cubicBezTo>
                  <a:pt x="5176588" y="563014"/>
                  <a:pt x="5107357" y="525996"/>
                  <a:pt x="5031643" y="500480"/>
                </a:cubicBezTo>
                <a:cubicBezTo>
                  <a:pt x="4955929" y="474965"/>
                  <a:pt x="4873522" y="460952"/>
                  <a:pt x="4784631" y="460952"/>
                </a:cubicBezTo>
                <a:cubicBezTo>
                  <a:pt x="4580495" y="460952"/>
                  <a:pt x="4396857" y="544818"/>
                  <a:pt x="4264462" y="679089"/>
                </a:cubicBezTo>
                <a:cubicBezTo>
                  <a:pt x="4131857" y="813149"/>
                  <a:pt x="4050287" y="997614"/>
                  <a:pt x="4050287" y="1198391"/>
                </a:cubicBezTo>
                <a:cubicBezTo>
                  <a:pt x="4050287" y="1402724"/>
                  <a:pt x="4131021" y="1589489"/>
                  <a:pt x="4262370" y="1725223"/>
                </a:cubicBezTo>
                <a:cubicBezTo>
                  <a:pt x="4393720" y="1861167"/>
                  <a:pt x="4575477" y="1945870"/>
                  <a:pt x="4778147" y="1945870"/>
                </a:cubicBezTo>
                <a:cubicBezTo>
                  <a:pt x="4939406" y="1945870"/>
                  <a:pt x="5080167" y="1893165"/>
                  <a:pt x="5191438" y="1804280"/>
                </a:cubicBezTo>
                <a:cubicBezTo>
                  <a:pt x="5302499" y="1715394"/>
                  <a:pt x="5384070" y="1590326"/>
                  <a:pt x="5426737" y="1445390"/>
                </a:cubicBezTo>
                <a:cubicBezTo>
                  <a:pt x="5426737" y="1445390"/>
                  <a:pt x="5426737" y="1445390"/>
                  <a:pt x="4708917" y="1445390"/>
                </a:cubicBezTo>
                <a:cubicBezTo>
                  <a:pt x="4708917" y="1445390"/>
                  <a:pt x="4708917" y="1445390"/>
                  <a:pt x="4850515" y="1223279"/>
                </a:cubicBezTo>
                <a:cubicBezTo>
                  <a:pt x="4850515" y="1223279"/>
                  <a:pt x="4850515" y="1223279"/>
                  <a:pt x="4992113" y="1000960"/>
                </a:cubicBezTo>
                <a:cubicBezTo>
                  <a:pt x="4992113" y="1000960"/>
                  <a:pt x="4992113" y="1000960"/>
                  <a:pt x="5457901" y="1000960"/>
                </a:cubicBezTo>
                <a:cubicBezTo>
                  <a:pt x="5457901" y="1000960"/>
                  <a:pt x="5457901" y="1000960"/>
                  <a:pt x="5924108" y="1000960"/>
                </a:cubicBezTo>
                <a:cubicBezTo>
                  <a:pt x="5928919" y="1033796"/>
                  <a:pt x="5933102" y="1066840"/>
                  <a:pt x="5936030" y="1100094"/>
                </a:cubicBezTo>
                <a:cubicBezTo>
                  <a:pt x="5938749" y="1133557"/>
                  <a:pt x="5940422" y="1167229"/>
                  <a:pt x="5940422" y="1201738"/>
                </a:cubicBezTo>
                <a:cubicBezTo>
                  <a:pt x="5940422" y="1532602"/>
                  <a:pt x="5812001" y="1833141"/>
                  <a:pt x="5600963" y="2050860"/>
                </a:cubicBezTo>
                <a:cubicBezTo>
                  <a:pt x="5389717" y="2268578"/>
                  <a:pt x="5095854" y="2403475"/>
                  <a:pt x="4764970" y="2403475"/>
                </a:cubicBezTo>
                <a:cubicBezTo>
                  <a:pt x="4549331" y="2403475"/>
                  <a:pt x="4350006" y="2352653"/>
                  <a:pt x="4178290" y="2262513"/>
                </a:cubicBezTo>
                <a:cubicBezTo>
                  <a:pt x="4006784" y="2172372"/>
                  <a:pt x="3862676" y="2043121"/>
                  <a:pt x="3757265" y="1886682"/>
                </a:cubicBezTo>
                <a:cubicBezTo>
                  <a:pt x="3647040" y="2044794"/>
                  <a:pt x="3502931" y="2173836"/>
                  <a:pt x="3332469" y="2263558"/>
                </a:cubicBezTo>
                <a:cubicBezTo>
                  <a:pt x="3162009" y="2353490"/>
                  <a:pt x="2965403" y="2403475"/>
                  <a:pt x="2749555" y="2403475"/>
                </a:cubicBezTo>
                <a:cubicBezTo>
                  <a:pt x="2566961" y="2403475"/>
                  <a:pt x="2395664" y="2364993"/>
                  <a:pt x="2242563" y="2295766"/>
                </a:cubicBezTo>
                <a:cubicBezTo>
                  <a:pt x="2089461" y="2226540"/>
                  <a:pt x="1954347" y="2126988"/>
                  <a:pt x="1844121" y="2005266"/>
                </a:cubicBezTo>
                <a:cubicBezTo>
                  <a:pt x="1783258" y="2108792"/>
                  <a:pt x="1694366" y="2196214"/>
                  <a:pt x="1583096" y="2257493"/>
                </a:cubicBezTo>
                <a:cubicBezTo>
                  <a:pt x="1472034" y="2318772"/>
                  <a:pt x="1338593" y="2354117"/>
                  <a:pt x="1188838" y="2354117"/>
                </a:cubicBezTo>
                <a:cubicBezTo>
                  <a:pt x="1188838" y="2354117"/>
                  <a:pt x="1188838" y="2354117"/>
                  <a:pt x="0" y="2354117"/>
                </a:cubicBezTo>
                <a:cubicBezTo>
                  <a:pt x="0" y="2354117"/>
                  <a:pt x="0" y="2354117"/>
                  <a:pt x="0" y="1201738"/>
                </a:cubicBezTo>
                <a:cubicBezTo>
                  <a:pt x="0" y="1201738"/>
                  <a:pt x="0" y="1201738"/>
                  <a:pt x="0" y="49358"/>
                </a:cubicBezTo>
                <a:cubicBezTo>
                  <a:pt x="0" y="49358"/>
                  <a:pt x="0" y="49358"/>
                  <a:pt x="538575" y="49358"/>
                </a:cubicBezTo>
                <a:cubicBezTo>
                  <a:pt x="538575" y="49358"/>
                  <a:pt x="538575" y="49358"/>
                  <a:pt x="1076940" y="49358"/>
                </a:cubicBezTo>
                <a:cubicBezTo>
                  <a:pt x="1249702" y="49358"/>
                  <a:pt x="1402804" y="96206"/>
                  <a:pt x="1523487" y="176099"/>
                </a:cubicBezTo>
                <a:cubicBezTo>
                  <a:pt x="1643960" y="255992"/>
                  <a:pt x="1732223" y="368720"/>
                  <a:pt x="1774892" y="500480"/>
                </a:cubicBezTo>
                <a:cubicBezTo>
                  <a:pt x="1883653" y="350524"/>
                  <a:pt x="2027552" y="225457"/>
                  <a:pt x="2196549" y="137826"/>
                </a:cubicBezTo>
                <a:cubicBezTo>
                  <a:pt x="2365129" y="50195"/>
                  <a:pt x="2558596" y="0"/>
                  <a:pt x="2766077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86895E2A-459B-4EFE-829E-131B34FBD394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9347207" y="5792633"/>
            <a:ext cx="2348894" cy="830417"/>
          </a:xfrm>
          <a:prstGeom prst="rect">
            <a:avLst/>
          </a:prstGeom>
        </p:spPr>
      </p:pic>
      <p:sp>
        <p:nvSpPr>
          <p:cNvPr id="31" name="Rectangle 30">
            <a:extLst>
              <a:ext uri="{FF2B5EF4-FFF2-40B4-BE49-F238E27FC236}">
                <a16:creationId xmlns:a16="http://schemas.microsoft.com/office/drawing/2014/main" id="{9C6912B7-E12B-40E1-9103-6FAA713EAA5F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578112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470898"/>
          </a:xfrm>
        </p:spPr>
        <p:txBody>
          <a:bodyPr/>
          <a:lstStyle>
            <a:lvl1pPr>
              <a:defRPr sz="3400"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399" y="2085628"/>
            <a:ext cx="1093380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28C46BB-80E3-4469-B321-4BCBDBD1ED1F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2881869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9563FC5-FB40-42AF-AB93-D62BA2DA09D7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4154854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9E0D526-30B5-48D6-8CF3-052C70C69DB4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2872868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FED806D-1E8A-4B6D-AD0F-0ADCD0F62BBA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3988023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04A3EDC-2D98-459B-A3CD-346BC351AAA6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1881823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>
            <a:extLst>
              <a:ext uri="{FF2B5EF4-FFF2-40B4-BE49-F238E27FC236}">
                <a16:creationId xmlns:a16="http://schemas.microsoft.com/office/drawing/2014/main" id="{8013B312-B98B-4D12-B8AD-DC68257F14A8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2488950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F93DBE9-6422-41FD-8144-E6AA30B93565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5192567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53C23D0-2ED7-4E89-A31D-C0C94355D8CE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202558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D5DB30A-0B9C-4B44-B4F7-C839B26DEB01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1103025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C008CC0-4BC2-475D-B58F-684E3B02F95C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1041136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BAF0C95-D57D-479A-9214-41A1C9813C2C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1958335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3E89F89-9CE0-4728-9D5E-67AB9A35FF0D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2325361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689F2A4-FD45-4157-8A0E-B9E5C17C1159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3154001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DC032F6-C998-4FF0-BE64-E057C217357F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1930338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8CF4D3CA-1404-49B2-AB21-B7CD82707254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137785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9C19A061-32C9-47D4-8CF1-A10EECFA7FA8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1467189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77F4D2CC-9A26-4725-B5F0-E3F46A60D5B8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405364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417D364D-C926-4D8E-9CB0-03EF20800FDE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2183381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9F09EC50-BBE7-4AAF-ADE6-436E282829C6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3241385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DEC0C5AD-F8CF-4CAA-9255-814D40134E9B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3558887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ACC6C085-E213-47C3-8457-26AE73658436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137184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B70B50E-6FDF-4136-840B-4CA9C6D3BE99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819449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8AFF735-8034-44DA-BB86-B2C6BC759CF9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1553577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5D6E9C25-44C1-4A1F-876E-EB35C4B2C2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D6E9C25-44C1-4A1F-876E-EB35C4B2C2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05899A0-CD5F-4096-BFFD-ED9C7BE5CD50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1072788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DC3FC45-8428-49C6-BBBA-06158BA8C362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1663183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D5A4620-EFF3-45EE-99B1-4265F6A1B958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776104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chemeClr val="tx2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82DB2C86-3AD9-4530-ACDB-39AC6F9FF232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1900135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4CF6E21-74E0-43CC-8300-8663FE9F47CC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3763393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469C197-7B26-4E61-9A9D-91117BC629D0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1466469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 txBox="1">
            <a:spLocks/>
          </p:cNvSpPr>
          <p:nvPr/>
        </p:nvSpPr>
        <p:spPr>
          <a:xfrm>
            <a:off x="639044" y="2973076"/>
            <a:ext cx="3199529" cy="70634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5100">
                <a:gradFill>
                  <a:gsLst>
                    <a:gs pos="100000">
                      <a:schemeClr val="tx2"/>
                    </a:gs>
                    <a:gs pos="2000">
                      <a:schemeClr val="accent2"/>
                    </a:gs>
                  </a:gsLst>
                  <a:lin ang="2700000" scaled="0"/>
                </a:gradFill>
                <a:latin typeface="+mn-lt"/>
                <a:sym typeface="Trebuchet MS" panose="020B0603020202020204" pitchFamily="34" charset="0"/>
              </a:rPr>
              <a:t>Disclaimer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4367898" y="1630185"/>
            <a:ext cx="0" cy="3392129"/>
          </a:xfrm>
          <a:prstGeom prst="line">
            <a:avLst/>
          </a:prstGeom>
          <a:ln w="9525">
            <a:solidFill>
              <a:schemeClr val="tx2"/>
            </a:solidFill>
            <a:miter lim="800000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F6674967-A755-48D1-B4CC-0393C96565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21826" y="1664256"/>
            <a:ext cx="6209072" cy="3323987"/>
          </a:xfrm>
        </p:spPr>
        <p:txBody>
          <a:bodyPr/>
          <a:lstStyle>
            <a:lvl1pPr>
              <a:defRPr sz="900"/>
            </a:lvl1pPr>
          </a:lstStyle>
          <a:p>
            <a:pPr lvl="0"/>
            <a:r>
              <a:rPr lang="en-US"/>
              <a:t>Edit text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F001BC8-1EF1-4DBB-9198-7AFD2B7BB9B8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792182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EDCE21A0-9035-4BF6-B9B8-43B543EBAB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15303" t="14039" r="11076" b="31097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307978F1-1D79-4A26-9332-A81B35A8B0B4}"/>
              </a:ext>
            </a:extLst>
          </p:cNvPr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0DFF92A-736B-4137-9756-929D8E6561C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836036" y="2528987"/>
            <a:ext cx="5715000" cy="1724025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0B2CFD2A-9680-42B3-BF49-DED8D44D68B6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584792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+mn-lt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15521D93-8713-45F3-810A-CB4FE0538C62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1382026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76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348840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>
                <a:solidFill>
                  <a:schemeClr val="bg1"/>
                </a:solidFill>
                <a:latin typeface="+mj-lt"/>
              </a:rPr>
              <a:t>Agenda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2AE75CF-601E-4D5D-AD1B-E587BC12F983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1979772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>
            <a:extLst>
              <a:ext uri="{FF2B5EF4-FFF2-40B4-BE49-F238E27FC236}">
                <a16:creationId xmlns:a16="http://schemas.microsoft.com/office/drawing/2014/main" id="{8EAB2FC8-BEA2-436C-813D-6609EE476334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3710461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63193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AB2BEAC-5E2E-49E5-883B-B9B6DE6EE5DF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1998168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22235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9DB6347A-E6BB-4F88-A436-CF96357FCA0D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13721221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47744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853BAB1-9A7F-4EB2-AB33-57C2959280F8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1674055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4244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tx2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3488400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accent4"/>
              </a:solidFill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>
                <a:solidFill>
                  <a:schemeClr val="tx2"/>
                </a:solidFill>
              </a:rPr>
              <a:t>Agenda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3D6A33A-ADCA-4C20-AEEE-75A47D11E726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2371695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92141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DCDC4BF-4F03-499F-8711-81CB1707EE43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1565918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92238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>
            <a:extLst>
              <a:ext uri="{FF2B5EF4-FFF2-40B4-BE49-F238E27FC236}">
                <a16:creationId xmlns:a16="http://schemas.microsoft.com/office/drawing/2014/main" id="{81E93534-07FA-4C94-B92A-E7A0E59EFD73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96987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47457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F62F651-649B-4337-ADDE-FB82F0D0BE88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3912418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93014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490BDE13-A429-417B-916A-40DC482D9B40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3314662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8EB2981-3238-4D9E-9D2C-AB0AB83FBC4E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2626087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B19356D-F217-4E3A-9D16-F18F86A97563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1885388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EB22CCC-2777-42E8-8B90-79061206504C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678006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71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9"/>
            </p:custDataLst>
            <p:extLst>
              <p:ext uri="{D42A27DB-BD31-4B8C-83A1-F6EECF244321}">
                <p14:modId xmlns:p14="http://schemas.microsoft.com/office/powerpoint/2010/main" val="38020549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0" imgW="270" imgH="270" progId="TCLayout.ActiveDocument.1">
                  <p:embed/>
                </p:oleObj>
              </mc:Choice>
              <mc:Fallback>
                <p:oleObj name="think-cell Slide" r:id="rId7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20823012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86" r:id="rId1"/>
    <p:sldLayoutId id="2147485187" r:id="rId2"/>
    <p:sldLayoutId id="2147485188" r:id="rId3"/>
    <p:sldLayoutId id="2147485189" r:id="rId4"/>
    <p:sldLayoutId id="2147485190" r:id="rId5"/>
    <p:sldLayoutId id="2147485191" r:id="rId6"/>
    <p:sldLayoutId id="2147485192" r:id="rId7"/>
    <p:sldLayoutId id="2147485193" r:id="rId8"/>
    <p:sldLayoutId id="2147485194" r:id="rId9"/>
    <p:sldLayoutId id="2147485195" r:id="rId10"/>
    <p:sldLayoutId id="2147485196" r:id="rId11"/>
    <p:sldLayoutId id="2147485197" r:id="rId12"/>
    <p:sldLayoutId id="2147485198" r:id="rId13"/>
    <p:sldLayoutId id="2147485199" r:id="rId14"/>
    <p:sldLayoutId id="2147485200" r:id="rId15"/>
    <p:sldLayoutId id="2147485201" r:id="rId16"/>
    <p:sldLayoutId id="2147485202" r:id="rId17"/>
    <p:sldLayoutId id="2147485203" r:id="rId18"/>
    <p:sldLayoutId id="2147485204" r:id="rId19"/>
    <p:sldLayoutId id="2147485205" r:id="rId20"/>
    <p:sldLayoutId id="2147485206" r:id="rId21"/>
    <p:sldLayoutId id="2147485207" r:id="rId22"/>
    <p:sldLayoutId id="2147485208" r:id="rId23"/>
    <p:sldLayoutId id="2147485209" r:id="rId24"/>
    <p:sldLayoutId id="2147485210" r:id="rId25"/>
    <p:sldLayoutId id="2147485211" r:id="rId26"/>
    <p:sldLayoutId id="2147485212" r:id="rId27"/>
    <p:sldLayoutId id="2147485213" r:id="rId28"/>
    <p:sldLayoutId id="2147485214" r:id="rId29"/>
    <p:sldLayoutId id="2147485215" r:id="rId30"/>
    <p:sldLayoutId id="2147485216" r:id="rId31"/>
    <p:sldLayoutId id="2147485217" r:id="rId32"/>
    <p:sldLayoutId id="2147485218" r:id="rId33"/>
    <p:sldLayoutId id="2147485219" r:id="rId34"/>
    <p:sldLayoutId id="2147485220" r:id="rId35"/>
    <p:sldLayoutId id="2147485221" r:id="rId36"/>
    <p:sldLayoutId id="2147485222" r:id="rId37"/>
    <p:sldLayoutId id="2147485223" r:id="rId38"/>
    <p:sldLayoutId id="2147485224" r:id="rId39"/>
    <p:sldLayoutId id="2147485225" r:id="rId40"/>
    <p:sldLayoutId id="2147485226" r:id="rId41"/>
    <p:sldLayoutId id="2147485227" r:id="rId42"/>
    <p:sldLayoutId id="2147485228" r:id="rId43"/>
    <p:sldLayoutId id="2147485229" r:id="rId44"/>
    <p:sldLayoutId id="2147485230" r:id="rId45"/>
    <p:sldLayoutId id="2147485231" r:id="rId46"/>
    <p:sldLayoutId id="2147485232" r:id="rId47"/>
    <p:sldLayoutId id="2147485233" r:id="rId48"/>
    <p:sldLayoutId id="2147485234" r:id="rId49"/>
    <p:sldLayoutId id="2147485235" r:id="rId50"/>
    <p:sldLayoutId id="2147485236" r:id="rId51"/>
    <p:sldLayoutId id="2147485237" r:id="rId52"/>
    <p:sldLayoutId id="2147485238" r:id="rId53"/>
    <p:sldLayoutId id="2147485239" r:id="rId54"/>
    <p:sldLayoutId id="2147485240" r:id="rId55"/>
    <p:sldLayoutId id="2147485241" r:id="rId56"/>
    <p:sldLayoutId id="2147485242" r:id="rId57"/>
    <p:sldLayoutId id="2147485243" r:id="rId58"/>
    <p:sldLayoutId id="2147485244" r:id="rId59"/>
    <p:sldLayoutId id="2147485245" r:id="rId60"/>
    <p:sldLayoutId id="2147485246" r:id="rId61"/>
    <p:sldLayoutId id="2147485247" r:id="rId62"/>
    <p:sldLayoutId id="2147485248" r:id="rId63"/>
    <p:sldLayoutId id="2147485249" r:id="rId64"/>
    <p:sldLayoutId id="2147485250" r:id="rId65"/>
    <p:sldLayoutId id="2147485251" r:id="rId66"/>
    <p:sldLayoutId id="2147485252" r:id="rId67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rgbClr val="231F20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lang="en-US" sz="1200" kern="1200">
          <a:solidFill>
            <a:srgbClr val="231F20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>
            <a:lumMod val="60000"/>
            <a:lumOff val="40000"/>
          </a:schemeClr>
        </a:buClr>
        <a:buFont typeface="Trebuchet MS" panose="020B0603020202020204" pitchFamily="34" charset="0"/>
        <a:buChar char="–"/>
        <a:defRPr lang="en-US" sz="1200" kern="1200">
          <a:solidFill>
            <a:srgbClr val="231F20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b="1" kern="1200">
          <a:solidFill>
            <a:srgbClr val="231F20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rgbClr val="231F20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lang="en-US" sz="1600" kern="1200" smtClean="0">
          <a:solidFill>
            <a:srgbClr val="231F20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rgbClr val="231F20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b="1" kern="1200" baseline="0" smtClean="0">
          <a:solidFill>
            <a:srgbClr val="231F20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b="1" kern="1200" baseline="0" dirty="0">
          <a:solidFill>
            <a:srgbClr val="231F20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8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1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29.xml"/><Relationship Id="rId4" Type="http://schemas.openxmlformats.org/officeDocument/2006/relationships/image" Target="../media/image13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30.xml"/><Relationship Id="rId4" Type="http://schemas.openxmlformats.org/officeDocument/2006/relationships/image" Target="../media/image14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0.xml"/><Relationship Id="rId1" Type="http://schemas.openxmlformats.org/officeDocument/2006/relationships/tags" Target="../tags/tag31.x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4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32.xml"/><Relationship Id="rId4" Type="http://schemas.openxmlformats.org/officeDocument/2006/relationships/image" Target="../media/image10.emf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50B39137-9395-4220-9AF6-D9743063FF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0B39137-9395-4220-9AF6-D9743063FF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FE3A609-2662-401C-880A-473D8264749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June 15</a:t>
            </a:r>
            <a:r>
              <a:rPr lang="en-US" baseline="30000" dirty="0"/>
              <a:t>th</a:t>
            </a:r>
            <a:r>
              <a:rPr lang="en-US" dirty="0"/>
              <a:t>, 2023 </a:t>
            </a:r>
          </a:p>
        </p:txBody>
      </p:sp>
      <p:sp>
        <p:nvSpPr>
          <p:cNvPr id="11" name="Subtitle 10">
            <a:extLst>
              <a:ext uri="{FF2B5EF4-FFF2-40B4-BE49-F238E27FC236}">
                <a16:creationId xmlns:a16="http://schemas.microsoft.com/office/drawing/2014/main" id="{FB43DC2B-6BC1-44D1-9F97-475B2BD83A4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Pre-read materials for discussion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291E666-6F55-4382-B011-C12EE8DEFE4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/>
              <a:t>2024-2027 Strategic Plan Outline </a:t>
            </a:r>
          </a:p>
        </p:txBody>
      </p:sp>
      <p:sp>
        <p:nvSpPr>
          <p:cNvPr id="3" name="Google Shape;1503;p1">
            <a:extLst>
              <a:ext uri="{FF2B5EF4-FFF2-40B4-BE49-F238E27FC236}">
                <a16:creationId xmlns:a16="http://schemas.microsoft.com/office/drawing/2014/main" id="{C782C892-13AF-158A-06BD-9E6EDD392AFE}"/>
              </a:ext>
            </a:extLst>
          </p:cNvPr>
          <p:cNvSpPr/>
          <p:nvPr/>
        </p:nvSpPr>
        <p:spPr>
          <a:xfrm>
            <a:off x="628650" y="136150"/>
            <a:ext cx="8123400" cy="369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200" b="0" i="0" u="none" strike="noStrike" cap="none">
                <a:solidFill>
                  <a:srgbClr val="231F20"/>
                </a:solidFill>
                <a:latin typeface="Trebuchet MS"/>
                <a:ea typeface="Trebuchet MS"/>
                <a:cs typeface="Trebuchet MS"/>
                <a:sym typeface="Trebuchet MS"/>
              </a:rPr>
              <a:t>Draft: </a:t>
            </a:r>
            <a:r>
              <a:rPr lang="en-US" sz="2200">
                <a:solidFill>
                  <a:srgbClr val="231F20"/>
                </a:solidFill>
                <a:latin typeface="Trebuchet MS"/>
                <a:ea typeface="Trebuchet MS"/>
                <a:cs typeface="Trebuchet MS"/>
                <a:sym typeface="Trebuchet MS"/>
              </a:rPr>
              <a:t>P</a:t>
            </a:r>
            <a:r>
              <a:rPr lang="en-US" sz="2200" b="0" i="0" u="none" strike="noStrike" cap="none">
                <a:solidFill>
                  <a:srgbClr val="231F20"/>
                </a:solidFill>
                <a:latin typeface="Trebuchet MS"/>
                <a:ea typeface="Trebuchet MS"/>
                <a:cs typeface="Trebuchet MS"/>
                <a:sym typeface="Trebuchet MS"/>
              </a:rPr>
              <a:t>re-decisional and for discussion only</a:t>
            </a:r>
            <a:endParaRPr lang="en-US" sz="2400">
              <a:solidFill>
                <a:srgbClr val="231F2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7739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509C8A3-608E-9DD7-C3D5-9E6ED4C439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06637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509C8A3-608E-9DD7-C3D5-9E6ED4C439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01CF150-A9E0-4850-6F5F-17CA94E747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622800"/>
            <a:ext cx="6276529" cy="360099"/>
          </a:xfrm>
        </p:spPr>
        <p:txBody>
          <a:bodyPr vert="horz"/>
          <a:lstStyle/>
          <a:p>
            <a:r>
              <a:rPr lang="en-US" sz="2600" dirty="0">
                <a:solidFill>
                  <a:schemeClr val="accent2"/>
                </a:solidFill>
              </a:rPr>
              <a:t>Update | </a:t>
            </a:r>
            <a:r>
              <a:rPr lang="en-US" sz="2600" dirty="0"/>
              <a:t>2024-2027 Strategic Plan effort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701672D-E972-FD1A-4B48-8C4D736E5211}"/>
              </a:ext>
            </a:extLst>
          </p:cNvPr>
          <p:cNvSpPr txBox="1"/>
          <p:nvPr/>
        </p:nvSpPr>
        <p:spPr>
          <a:xfrm>
            <a:off x="553484" y="1833763"/>
            <a:ext cx="6609316" cy="429265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600"/>
              </a:spcAft>
            </a:pPr>
            <a:r>
              <a:rPr kumimoji="0" lang="en-US" altLang="en-US" sz="1900" b="0" i="0" u="none" strike="noStrike" cap="none" normalizeH="0" baseline="0" dirty="0">
                <a:ln>
                  <a:noFill/>
                </a:ln>
                <a:solidFill>
                  <a:srgbClr val="1B365F"/>
                </a:solidFill>
                <a:effectLst/>
                <a:latin typeface="+mj-lt"/>
                <a:ea typeface="Calibri" panose="020F0502020204030204" pitchFamily="34" charset="0"/>
              </a:rPr>
              <a:t>The Commission is in the </a:t>
            </a:r>
            <a:r>
              <a:rPr kumimoji="0" lang="en-US" altLang="en-US" sz="1900" b="1" i="0" u="none" strike="noStrike" cap="none" normalizeH="0" baseline="0" dirty="0">
                <a:ln>
                  <a:noFill/>
                </a:ln>
                <a:solidFill>
                  <a:schemeClr val="accent2"/>
                </a:solidFill>
                <a:effectLst/>
                <a:latin typeface="+mj-lt"/>
                <a:ea typeface="Calibri" panose="020F0502020204030204" pitchFamily="34" charset="0"/>
              </a:rPr>
              <a:t>early stages of developing the Strategic Plan</a:t>
            </a:r>
            <a:r>
              <a:rPr kumimoji="0" lang="en-US" altLang="en-US" sz="1900" b="0" i="0" u="none" strike="noStrike" cap="none" normalizeH="0" baseline="0" dirty="0">
                <a:ln>
                  <a:noFill/>
                </a:ln>
                <a:solidFill>
                  <a:schemeClr val="accent2"/>
                </a:solidFill>
                <a:effectLst/>
                <a:latin typeface="+mj-lt"/>
                <a:ea typeface="Calibri" panose="020F0502020204030204" pitchFamily="34" charset="0"/>
              </a:rPr>
              <a:t> </a:t>
            </a:r>
            <a:r>
              <a:rPr kumimoji="0" lang="en-US" altLang="en-US" sz="1900" b="0" i="0" u="none" strike="noStrike" cap="none" normalizeH="0" baseline="0" dirty="0">
                <a:ln>
                  <a:noFill/>
                </a:ln>
                <a:solidFill>
                  <a:srgbClr val="1B365F"/>
                </a:solidFill>
                <a:effectLst/>
                <a:latin typeface="+mj-lt"/>
                <a:ea typeface="Calibri" panose="020F0502020204030204" pitchFamily="34" charset="0"/>
              </a:rPr>
              <a:t>for the coming years (2024-2027)</a:t>
            </a:r>
          </a:p>
          <a:p>
            <a:pPr>
              <a:spcAft>
                <a:spcPts val="600"/>
              </a:spcAft>
              <a:buFont typeface="Trebuchet MS" panose="020B0603020202020204" pitchFamily="34" charset="0"/>
              <a:buChar char="​"/>
            </a:pPr>
            <a:endParaRPr lang="en-US" altLang="en-US" sz="1900" dirty="0">
              <a:solidFill>
                <a:srgbClr val="1B365F"/>
              </a:solidFill>
              <a:latin typeface="+mj-lt"/>
              <a:ea typeface="Calibri" panose="020F0502020204030204" pitchFamily="34" charset="0"/>
            </a:endParaRPr>
          </a:p>
          <a:p>
            <a:pPr>
              <a:spcAft>
                <a:spcPts val="1200"/>
              </a:spcAft>
              <a:buFont typeface="Trebuchet MS" panose="020B0603020202020204" pitchFamily="34" charset="0"/>
              <a:buChar char="​"/>
            </a:pPr>
            <a:r>
              <a:rPr kumimoji="0" lang="en-US" altLang="en-US" sz="1900" b="0" i="0" u="none" strike="noStrike" cap="none" normalizeH="0" baseline="0" dirty="0">
                <a:ln>
                  <a:noFill/>
                </a:ln>
                <a:solidFill>
                  <a:srgbClr val="1B365F"/>
                </a:solidFill>
                <a:effectLst/>
                <a:latin typeface="+mj-lt"/>
                <a:ea typeface="Calibri" panose="020F0502020204030204" pitchFamily="34" charset="0"/>
              </a:rPr>
              <a:t>As part of this effort, we aim to</a:t>
            </a:r>
          </a:p>
          <a:p>
            <a:pPr marL="486000" lvl="1" indent="-324000">
              <a:spcAft>
                <a:spcPts val="1200"/>
              </a:spcAft>
              <a:buClr>
                <a:srgbClr val="4A7DCB"/>
              </a:buClr>
              <a:buFont typeface="Trebuchet MS" panose="020B0603020202020204" pitchFamily="34" charset="0"/>
              <a:buChar char="•"/>
            </a:pPr>
            <a:r>
              <a:rPr kumimoji="0" lang="en-US" altLang="en-US" sz="1900" b="0" i="0" u="none" strike="noStrike" cap="none" normalizeH="0" baseline="0" dirty="0">
                <a:ln>
                  <a:noFill/>
                </a:ln>
                <a:solidFill>
                  <a:srgbClr val="231F20"/>
                </a:solidFill>
                <a:effectLst/>
                <a:latin typeface="+mj-lt"/>
                <a:ea typeface="Calibri" panose="020F0502020204030204" pitchFamily="34" charset="0"/>
              </a:rPr>
              <a:t>Reflect on the </a:t>
            </a:r>
            <a:r>
              <a:rPr kumimoji="0" lang="en-US" altLang="en-US" sz="1900" b="1" i="0" u="none" strike="noStrike" cap="none" normalizeH="0" baseline="0" dirty="0">
                <a:ln>
                  <a:noFill/>
                </a:ln>
                <a:solidFill>
                  <a:schemeClr val="accent2"/>
                </a:solidFill>
                <a:effectLst/>
                <a:latin typeface="+mj-lt"/>
                <a:ea typeface="Calibri" panose="020F0502020204030204" pitchFamily="34" charset="0"/>
              </a:rPr>
              <a:t>Commission's work to date</a:t>
            </a:r>
            <a:r>
              <a:rPr kumimoji="0" lang="en-US" altLang="en-US" sz="1900" i="0" u="none" strike="noStrike" cap="none" normalizeH="0" baseline="0" dirty="0">
                <a:ln>
                  <a:noFill/>
                </a:ln>
                <a:solidFill>
                  <a:schemeClr val="accent2"/>
                </a:solidFill>
                <a:effectLst/>
                <a:latin typeface="+mj-lt"/>
                <a:ea typeface="Calibri" panose="020F0502020204030204" pitchFamily="34" charset="0"/>
              </a:rPr>
              <a:t> </a:t>
            </a:r>
            <a:r>
              <a:rPr kumimoji="0" lang="en-US" altLang="en-US" sz="1900" b="1" i="0" u="none" strike="noStrike" cap="none" normalizeH="0" baseline="0" dirty="0">
                <a:ln>
                  <a:noFill/>
                </a:ln>
                <a:solidFill>
                  <a:schemeClr val="accent2"/>
                </a:solidFill>
                <a:effectLst/>
                <a:latin typeface="+mj-lt"/>
                <a:ea typeface="Calibri" panose="020F0502020204030204" pitchFamily="34" charset="0"/>
              </a:rPr>
              <a:t>and lessons learned </a:t>
            </a:r>
            <a:r>
              <a:rPr kumimoji="0" lang="en-US" altLang="en-US" sz="1900" i="0" u="none" strike="noStrike" cap="none" normalizeH="0" baseline="0" dirty="0">
                <a:ln>
                  <a:noFill/>
                </a:ln>
                <a:solidFill>
                  <a:srgbClr val="231F20"/>
                </a:solidFill>
                <a:effectLst/>
                <a:latin typeface="+mj-lt"/>
                <a:ea typeface="Calibri" panose="020F0502020204030204" pitchFamily="34" charset="0"/>
              </a:rPr>
              <a:t>from the last three years</a:t>
            </a:r>
            <a:endParaRPr kumimoji="0" lang="en-US" altLang="en-US" sz="1900" b="1" i="0" u="none" strike="noStrike" cap="none" normalizeH="0" baseline="0" dirty="0">
              <a:ln>
                <a:noFill/>
              </a:ln>
              <a:solidFill>
                <a:srgbClr val="231F20"/>
              </a:solidFill>
              <a:effectLst/>
              <a:latin typeface="+mj-lt"/>
              <a:ea typeface="Calibri" panose="020F0502020204030204" pitchFamily="34" charset="0"/>
            </a:endParaRPr>
          </a:p>
          <a:p>
            <a:pPr marL="486000" lvl="1" indent="-324000">
              <a:spcAft>
                <a:spcPts val="1200"/>
              </a:spcAft>
              <a:buClr>
                <a:srgbClr val="4A7DCB"/>
              </a:buClr>
              <a:buFont typeface="Trebuchet MS" panose="020B0603020202020204" pitchFamily="34" charset="0"/>
              <a:buChar char="•"/>
            </a:pPr>
            <a:r>
              <a:rPr lang="en-US" altLang="en-US" sz="1900" dirty="0">
                <a:solidFill>
                  <a:srgbClr val="231F20"/>
                </a:solidFill>
                <a:latin typeface="+mj-lt"/>
                <a:ea typeface="Calibri" panose="020F0502020204030204" pitchFamily="34" charset="0"/>
              </a:rPr>
              <a:t>Understand and articulate </a:t>
            </a:r>
            <a:r>
              <a:rPr lang="en-US" altLang="en-US" sz="1900" b="1" dirty="0">
                <a:solidFill>
                  <a:schemeClr val="accent2"/>
                </a:solidFill>
                <a:latin typeface="+mj-lt"/>
                <a:ea typeface="Calibri" panose="020F0502020204030204" pitchFamily="34" charset="0"/>
              </a:rPr>
              <a:t>how our work fits into context</a:t>
            </a:r>
            <a:r>
              <a:rPr lang="en-US" altLang="en-US" sz="1900" dirty="0">
                <a:solidFill>
                  <a:srgbClr val="231F20"/>
                </a:solidFill>
                <a:latin typeface="+mj-lt"/>
                <a:ea typeface="Calibri" panose="020F0502020204030204" pitchFamily="34" charset="0"/>
              </a:rPr>
              <a:t> amid an evolving mental health landscape</a:t>
            </a:r>
          </a:p>
          <a:p>
            <a:pPr marL="486000" lvl="1" indent="-324000">
              <a:spcAft>
                <a:spcPts val="1200"/>
              </a:spcAft>
              <a:buClr>
                <a:srgbClr val="4A7DCB"/>
              </a:buClr>
              <a:buFont typeface="Trebuchet MS" panose="020B0603020202020204" pitchFamily="34" charset="0"/>
              <a:buChar char="•"/>
            </a:pPr>
            <a:r>
              <a:rPr lang="en-US" altLang="en-US" sz="1900" dirty="0">
                <a:solidFill>
                  <a:srgbClr val="231F20"/>
                </a:solidFill>
                <a:latin typeface="+mj-lt"/>
                <a:ea typeface="Calibri" panose="020F0502020204030204" pitchFamily="34" charset="0"/>
              </a:rPr>
              <a:t>Surface and evaluate </a:t>
            </a:r>
            <a:r>
              <a:rPr kumimoji="0" lang="en-US" altLang="en-US" sz="1900" b="1" i="0" u="none" strike="noStrike" cap="none" normalizeH="0" baseline="0" dirty="0">
                <a:ln>
                  <a:noFill/>
                </a:ln>
                <a:solidFill>
                  <a:schemeClr val="accent2"/>
                </a:solidFill>
                <a:effectLst/>
                <a:latin typeface="+mj-lt"/>
                <a:ea typeface="Calibri" panose="020F0502020204030204" pitchFamily="34" charset="0"/>
              </a:rPr>
              <a:t>opportunities to catalyze transformational change</a:t>
            </a:r>
            <a:endParaRPr kumimoji="0" lang="en-US" altLang="en-US" sz="1900" b="0" i="0" u="none" strike="noStrike" cap="none" normalizeH="0" baseline="0" dirty="0">
              <a:ln>
                <a:noFill/>
              </a:ln>
              <a:solidFill>
                <a:srgbClr val="231F20"/>
              </a:solidFill>
              <a:effectLst/>
              <a:latin typeface="+mj-lt"/>
              <a:ea typeface="Calibri" panose="020F0502020204030204" pitchFamily="34" charset="0"/>
            </a:endParaRPr>
          </a:p>
          <a:p>
            <a:pPr marL="486000" lvl="1" indent="-324000">
              <a:spcAft>
                <a:spcPts val="600"/>
              </a:spcAft>
              <a:buClr>
                <a:srgbClr val="4A7DCB"/>
              </a:buClr>
              <a:buFont typeface="Trebuchet MS" panose="020B0603020202020204" pitchFamily="34" charset="0"/>
              <a:buChar char="•"/>
            </a:pPr>
            <a:endParaRPr lang="en-US" altLang="en-US" sz="1900" dirty="0">
              <a:solidFill>
                <a:srgbClr val="231F20"/>
              </a:solidFill>
              <a:latin typeface="+mj-lt"/>
              <a:ea typeface="Calibri" panose="020F0502020204030204" pitchFamily="34" charset="0"/>
            </a:endParaRPr>
          </a:p>
          <a:p>
            <a:pPr>
              <a:spcAft>
                <a:spcPts val="600"/>
              </a:spcAft>
              <a:buClr>
                <a:srgbClr val="4A7DCB"/>
              </a:buClr>
            </a:pPr>
            <a:r>
              <a:rPr lang="en-US" altLang="en-US" sz="1900" dirty="0">
                <a:solidFill>
                  <a:srgbClr val="231F20"/>
                </a:solidFill>
                <a:latin typeface="+mj-lt"/>
                <a:ea typeface="Calibri" panose="020F0502020204030204" pitchFamily="34" charset="0"/>
              </a:rPr>
              <a:t>Today represents </a:t>
            </a:r>
            <a:r>
              <a:rPr lang="en-US" altLang="en-US" sz="1900" b="1" dirty="0">
                <a:solidFill>
                  <a:schemeClr val="accent2"/>
                </a:solidFill>
                <a:latin typeface="+mj-lt"/>
                <a:ea typeface="Calibri" panose="020F0502020204030204" pitchFamily="34" charset="0"/>
              </a:rPr>
              <a:t>one of many opportunities to engag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F4FC76D-2A50-7F23-43B3-C13C1F993B11}"/>
              </a:ext>
            </a:extLst>
          </p:cNvPr>
          <p:cNvSpPr/>
          <p:nvPr/>
        </p:nvSpPr>
        <p:spPr>
          <a:xfrm>
            <a:off x="7501140" y="718260"/>
            <a:ext cx="4637441" cy="360099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08000" lvl="1" fontAlgn="ctr">
              <a:spcAft>
                <a:spcPts val="1800"/>
              </a:spcAft>
              <a:buClr>
                <a:prstClr val="white"/>
              </a:buClr>
              <a:defRPr/>
            </a:pPr>
            <a:r>
              <a:rPr lang="en-US" sz="2600" dirty="0">
                <a:solidFill>
                  <a:srgbClr val="FFFFFF"/>
                </a:solidFill>
                <a:latin typeface="Trebuchet MS"/>
                <a:sym typeface="Trebuchet MS" panose="020B0603020202020204" pitchFamily="34" charset="0"/>
              </a:rPr>
              <a:t>…designed to be an inclusive and collaborative process</a:t>
            </a:r>
            <a:endParaRPr kumimoji="0" lang="en-US" sz="2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sym typeface="Trebuchet MS" panose="020B0603020202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B01F396-8820-B0CE-EA06-E5839BB452FA}"/>
              </a:ext>
            </a:extLst>
          </p:cNvPr>
          <p:cNvSpPr txBox="1"/>
          <p:nvPr/>
        </p:nvSpPr>
        <p:spPr>
          <a:xfrm>
            <a:off x="7501140" y="1833762"/>
            <a:ext cx="4487660" cy="429265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>
              <a:spcAft>
                <a:spcPts val="2400"/>
              </a:spcAft>
              <a:buClr>
                <a:srgbClr val="73A8D4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FFFFFF"/>
                </a:solidFill>
              </a:rPr>
              <a:t>Commission seeks to meaningfully engage community partners, experts and the public throughout</a:t>
            </a:r>
          </a:p>
          <a:p>
            <a:pPr marL="285750" indent="-285750">
              <a:spcAft>
                <a:spcPts val="2400"/>
              </a:spcAft>
              <a:buClr>
                <a:srgbClr val="73A8D4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FFFFFF"/>
                </a:solidFill>
              </a:rPr>
              <a:t>Diverse opportunities for input (e.g., interviews, listening sessions, public forums) will continue through the rest of 2023</a:t>
            </a:r>
          </a:p>
          <a:p>
            <a:pPr marL="648000" lvl="2" indent="-216000">
              <a:spcAft>
                <a:spcPts val="600"/>
              </a:spcAft>
              <a:buClr>
                <a:schemeClr val="bg1"/>
              </a:buClr>
              <a:buFont typeface="Trebuchet MS" panose="020B0603020202020204" pitchFamily="34" charset="0"/>
              <a:buChar char="–"/>
            </a:pPr>
            <a:r>
              <a:rPr lang="en-US" sz="2000" b="1" dirty="0">
                <a:solidFill>
                  <a:srgbClr val="FFFFFF"/>
                </a:solidFill>
              </a:rPr>
              <a:t>20+ </a:t>
            </a:r>
            <a:r>
              <a:rPr lang="en-US" sz="2000" dirty="0">
                <a:solidFill>
                  <a:srgbClr val="FFFFFF"/>
                </a:solidFill>
              </a:rPr>
              <a:t>engagements to date</a:t>
            </a:r>
          </a:p>
          <a:p>
            <a:pPr marL="648000" lvl="2" indent="-216000">
              <a:spcAft>
                <a:spcPts val="600"/>
              </a:spcAft>
              <a:buClr>
                <a:schemeClr val="bg1"/>
              </a:buClr>
              <a:buFont typeface="Trebuchet MS" panose="020B0603020202020204" pitchFamily="34" charset="0"/>
              <a:buChar char="–"/>
            </a:pPr>
            <a:r>
              <a:rPr lang="en-US" sz="2000" dirty="0">
                <a:solidFill>
                  <a:srgbClr val="FFFFFF"/>
                </a:solidFill>
              </a:rPr>
              <a:t>Public forum </a:t>
            </a:r>
            <a:r>
              <a:rPr lang="en-US" sz="2000" b="1" dirty="0">
                <a:solidFill>
                  <a:srgbClr val="FFFFFF"/>
                </a:solidFill>
              </a:rPr>
              <a:t>June 16</a:t>
            </a:r>
            <a:r>
              <a:rPr lang="en-US" sz="2000" b="1" baseline="30000" dirty="0">
                <a:solidFill>
                  <a:srgbClr val="FFFFFF"/>
                </a:solidFill>
              </a:rPr>
              <a:t>th</a:t>
            </a:r>
            <a:r>
              <a:rPr lang="en-US" sz="2000" b="1" dirty="0">
                <a:solidFill>
                  <a:srgbClr val="FFFFFF"/>
                </a:solidFill>
              </a:rPr>
              <a:t> 11a </a:t>
            </a:r>
          </a:p>
          <a:p>
            <a:pPr marL="648000" lvl="2" indent="-216000">
              <a:spcAft>
                <a:spcPts val="600"/>
              </a:spcAft>
              <a:buClr>
                <a:schemeClr val="bg1"/>
              </a:buClr>
              <a:buFont typeface="Trebuchet MS" panose="020B0603020202020204" pitchFamily="34" charset="0"/>
              <a:buChar char="–"/>
            </a:pPr>
            <a:endParaRPr lang="en-US" sz="1400" dirty="0">
              <a:solidFill>
                <a:srgbClr val="FFFFFF"/>
              </a:solidFill>
            </a:endParaRPr>
          </a:p>
          <a:p>
            <a:pPr marL="285750" indent="-285750">
              <a:spcAft>
                <a:spcPts val="2400"/>
              </a:spcAft>
              <a:buClr>
                <a:srgbClr val="73A8D4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FFFFFF"/>
                </a:solidFill>
              </a:rPr>
              <a:t>Complete draft plan will be publicly released by November 30</a:t>
            </a:r>
            <a:r>
              <a:rPr lang="en-US" sz="2000" baseline="30000" dirty="0">
                <a:solidFill>
                  <a:srgbClr val="FFFFFF"/>
                </a:solidFill>
              </a:rPr>
              <a:t>th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33161E5-A319-E98D-2F13-5022EF5B7BD7}"/>
              </a:ext>
            </a:extLst>
          </p:cNvPr>
          <p:cNvSpPr/>
          <p:nvPr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FEC00F"/>
          </a:solidFill>
          <a:ln w="9525" cap="rnd" cmpd="sng" algn="ctr">
            <a:solidFill>
              <a:srgbClr val="FEC00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0">
                <a:solidFill>
                  <a:srgbClr val="231F20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Draft – pre-decisional – for discussion only</a:t>
            </a:r>
            <a:endParaRPr lang="en-US" sz="1200" b="0">
              <a:solidFill>
                <a:srgbClr val="231F2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091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B438025-0626-A6EA-9F28-A50C9EA757A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29300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B438025-0626-A6EA-9F28-A50C9EA757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2" name="Straight Arrow Connector 91">
            <a:extLst>
              <a:ext uri="{FF2B5EF4-FFF2-40B4-BE49-F238E27FC236}">
                <a16:creationId xmlns:a16="http://schemas.microsoft.com/office/drawing/2014/main" id="{ABB93F12-29A3-4910-BA7C-DB26FB856231}"/>
              </a:ext>
            </a:extLst>
          </p:cNvPr>
          <p:cNvCxnSpPr>
            <a:cxnSpLocks/>
          </p:cNvCxnSpPr>
          <p:nvPr/>
        </p:nvCxnSpPr>
        <p:spPr>
          <a:xfrm>
            <a:off x="9542475" y="4635951"/>
            <a:ext cx="0" cy="450574"/>
          </a:xfrm>
          <a:prstGeom prst="straightConnector1">
            <a:avLst/>
          </a:prstGeom>
          <a:ln w="9525" cap="rnd">
            <a:solidFill>
              <a:schemeClr val="bg1"/>
            </a:solidFill>
            <a:prstDash val="solid"/>
            <a:round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Arrow Connector 82">
            <a:extLst>
              <a:ext uri="{FF2B5EF4-FFF2-40B4-BE49-F238E27FC236}">
                <a16:creationId xmlns:a16="http://schemas.microsoft.com/office/drawing/2014/main" id="{F7F7F2B8-1277-6EB8-879B-E5F2E58561EC}"/>
              </a:ext>
            </a:extLst>
          </p:cNvPr>
          <p:cNvCxnSpPr>
            <a:cxnSpLocks/>
          </p:cNvCxnSpPr>
          <p:nvPr/>
        </p:nvCxnSpPr>
        <p:spPr>
          <a:xfrm flipH="1">
            <a:off x="9684208" y="2322695"/>
            <a:ext cx="1385833" cy="1513808"/>
          </a:xfrm>
          <a:prstGeom prst="straightConnector1">
            <a:avLst/>
          </a:prstGeom>
          <a:ln w="9525" cap="rnd">
            <a:solidFill>
              <a:schemeClr val="bg1"/>
            </a:solidFill>
            <a:prstDash val="solid"/>
            <a:round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Arrow Connector 77">
            <a:extLst>
              <a:ext uri="{FF2B5EF4-FFF2-40B4-BE49-F238E27FC236}">
                <a16:creationId xmlns:a16="http://schemas.microsoft.com/office/drawing/2014/main" id="{3F151880-8E57-A5FB-4F77-315110FB0CFA}"/>
              </a:ext>
            </a:extLst>
          </p:cNvPr>
          <p:cNvCxnSpPr>
            <a:stCxn id="46" idx="2"/>
          </p:cNvCxnSpPr>
          <p:nvPr/>
        </p:nvCxnSpPr>
        <p:spPr>
          <a:xfrm>
            <a:off x="8014909" y="2322695"/>
            <a:ext cx="1397447" cy="1513808"/>
          </a:xfrm>
          <a:prstGeom prst="straightConnector1">
            <a:avLst/>
          </a:prstGeom>
          <a:ln w="9525" cap="rnd">
            <a:solidFill>
              <a:schemeClr val="bg1"/>
            </a:solidFill>
            <a:prstDash val="solid"/>
            <a:round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itle 5">
            <a:extLst>
              <a:ext uri="{FF2B5EF4-FFF2-40B4-BE49-F238E27FC236}">
                <a16:creationId xmlns:a16="http://schemas.microsoft.com/office/drawing/2014/main" id="{D1EF4266-D8EE-86AE-CCA6-3E055CFB01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622800"/>
            <a:ext cx="6276529" cy="609398"/>
          </a:xfrm>
        </p:spPr>
        <p:txBody>
          <a:bodyPr vert="horz"/>
          <a:lstStyle/>
          <a:p>
            <a:r>
              <a:rPr lang="en-US" sz="2200" dirty="0">
                <a:solidFill>
                  <a:schemeClr val="accent2"/>
                </a:solidFill>
              </a:rPr>
              <a:t>Recall | </a:t>
            </a:r>
            <a:r>
              <a:rPr lang="en-US" sz="2200" dirty="0">
                <a:solidFill>
                  <a:srgbClr val="575757"/>
                </a:solidFill>
              </a:rPr>
              <a:t>We are building a </a:t>
            </a:r>
            <a:r>
              <a:rPr lang="en-US" sz="2200" dirty="0">
                <a:solidFill>
                  <a:srgbClr val="1B365F"/>
                </a:solidFill>
              </a:rPr>
              <a:t>decision-making framework </a:t>
            </a:r>
            <a:r>
              <a:rPr lang="en-US" sz="2200" dirty="0">
                <a:solidFill>
                  <a:srgbClr val="575757"/>
                </a:solidFill>
              </a:rPr>
              <a:t>to guide our opportunity assessment…</a:t>
            </a:r>
          </a:p>
        </p:txBody>
      </p:sp>
      <p:sp>
        <p:nvSpPr>
          <p:cNvPr id="8" name="ee4pContent1">
            <a:extLst>
              <a:ext uri="{FF2B5EF4-FFF2-40B4-BE49-F238E27FC236}">
                <a16:creationId xmlns:a16="http://schemas.microsoft.com/office/drawing/2014/main" id="{94E5351E-C011-B42E-2225-9795ECAEB6EC}"/>
              </a:ext>
            </a:extLst>
          </p:cNvPr>
          <p:cNvSpPr txBox="1"/>
          <p:nvPr/>
        </p:nvSpPr>
        <p:spPr>
          <a:xfrm>
            <a:off x="614557" y="1681797"/>
            <a:ext cx="6015203" cy="4736216"/>
          </a:xfrm>
          <a:prstGeom prst="rect">
            <a:avLst/>
          </a:prstGeom>
          <a:ln cap="rnd">
            <a:noFill/>
          </a:ln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indent="-162000">
              <a:buClr>
                <a:srgbClr val="4A7DCB"/>
              </a:buClr>
              <a:buNone/>
              <a:defRPr/>
            </a:pPr>
            <a:r>
              <a:rPr lang="en-US" sz="2000" dirty="0">
                <a:solidFill>
                  <a:srgbClr val="575757"/>
                </a:solidFill>
                <a:latin typeface="Trebuchet MS"/>
              </a:rPr>
              <a:t>This tool will be designed to help us:</a:t>
            </a:r>
          </a:p>
          <a:p>
            <a:pPr marL="162000" lvl="1" indent="0">
              <a:buClr>
                <a:srgbClr val="4A7DCB"/>
              </a:buClr>
              <a:buNone/>
              <a:defRPr/>
            </a:pPr>
            <a:endParaRPr lang="en-US" sz="2000" b="1" dirty="0">
              <a:solidFill>
                <a:srgbClr val="575757"/>
              </a:solidFill>
              <a:latin typeface="Trebuchet MS"/>
            </a:endParaRPr>
          </a:p>
          <a:p>
            <a:pPr marL="486000" lvl="1" indent="-324000">
              <a:spcAft>
                <a:spcPts val="1200"/>
              </a:spcAft>
              <a:buClr>
                <a:srgbClr val="4A7DCB"/>
              </a:buClr>
              <a:buFont typeface="Trebuchet MS" panose="020B0603020202020204" pitchFamily="34" charset="0"/>
              <a:buChar char="•"/>
              <a:defRPr/>
            </a:pPr>
            <a:r>
              <a:rPr lang="en-US" sz="2000" b="1" dirty="0">
                <a:solidFill>
                  <a:schemeClr val="accent2"/>
                </a:solidFill>
                <a:latin typeface="Trebuchet MS"/>
              </a:rPr>
              <a:t>Standardize our approach </a:t>
            </a:r>
            <a:r>
              <a:rPr lang="en-US" sz="2000" dirty="0">
                <a:solidFill>
                  <a:srgbClr val="575757"/>
                </a:solidFill>
                <a:latin typeface="Trebuchet MS"/>
              </a:rPr>
              <a:t>to collect data and </a:t>
            </a:r>
            <a:r>
              <a:rPr lang="en-US" sz="2000" b="1" dirty="0">
                <a:solidFill>
                  <a:schemeClr val="accent2"/>
                </a:solidFill>
                <a:latin typeface="Trebuchet MS"/>
              </a:rPr>
              <a:t>measure the potential impact</a:t>
            </a:r>
            <a:r>
              <a:rPr lang="en-US" sz="2000" dirty="0">
                <a:solidFill>
                  <a:srgbClr val="575757"/>
                </a:solidFill>
                <a:latin typeface="Trebuchet MS"/>
              </a:rPr>
              <a:t> of an initiative</a:t>
            </a:r>
          </a:p>
          <a:p>
            <a:pPr marL="486000" lvl="1" indent="-324000">
              <a:spcAft>
                <a:spcPts val="1200"/>
              </a:spcAft>
              <a:buClr>
                <a:srgbClr val="4A7DCB"/>
              </a:buClr>
              <a:defRPr/>
            </a:pPr>
            <a:r>
              <a:rPr lang="en-US" sz="2000" b="1" dirty="0">
                <a:solidFill>
                  <a:schemeClr val="accent2"/>
                </a:solidFill>
                <a:latin typeface="Trebuchet MS"/>
              </a:rPr>
              <a:t>Prioritize</a:t>
            </a:r>
            <a:r>
              <a:rPr lang="en-US" sz="2000" b="1" dirty="0">
                <a:solidFill>
                  <a:schemeClr val="tx2"/>
                </a:solidFill>
                <a:latin typeface="Trebuchet MS"/>
              </a:rPr>
              <a:t> </a:t>
            </a:r>
            <a:r>
              <a:rPr lang="en-US" sz="2000" dirty="0">
                <a:solidFill>
                  <a:srgbClr val="575757"/>
                </a:solidFill>
                <a:latin typeface="Trebuchet MS"/>
              </a:rPr>
              <a:t>across initiatives and make funding decisions accordingly</a:t>
            </a:r>
            <a:endParaRPr lang="en-US" sz="2000" b="1" dirty="0">
              <a:solidFill>
                <a:srgbClr val="575757"/>
              </a:solidFill>
              <a:latin typeface="Trebuchet MS"/>
            </a:endParaRPr>
          </a:p>
          <a:p>
            <a:pPr marL="486000" lvl="1" indent="-324000">
              <a:spcAft>
                <a:spcPts val="1200"/>
              </a:spcAft>
              <a:buClr>
                <a:srgbClr val="4A7DCB"/>
              </a:buClr>
              <a:defRPr/>
            </a:pPr>
            <a:r>
              <a:rPr lang="en-US" sz="2000" b="1" dirty="0">
                <a:solidFill>
                  <a:schemeClr val="accent2"/>
                </a:solidFill>
                <a:latin typeface="Trebuchet MS"/>
              </a:rPr>
              <a:t>Look across our portfolio</a:t>
            </a:r>
            <a:r>
              <a:rPr lang="en-US" sz="2000" dirty="0">
                <a:solidFill>
                  <a:schemeClr val="accent2"/>
                </a:solidFill>
                <a:latin typeface="Trebuchet MS"/>
              </a:rPr>
              <a:t> </a:t>
            </a:r>
            <a:r>
              <a:rPr lang="en-US" sz="2000" dirty="0">
                <a:solidFill>
                  <a:srgbClr val="575757"/>
                </a:solidFill>
                <a:latin typeface="Trebuchet MS"/>
              </a:rPr>
              <a:t>to understand opportunities for impact and collaboration </a:t>
            </a:r>
            <a:endParaRPr lang="en-US" sz="2000" b="1" dirty="0">
              <a:solidFill>
                <a:schemeClr val="tx2"/>
              </a:solidFill>
              <a:latin typeface="Trebuchet MS"/>
            </a:endParaRPr>
          </a:p>
          <a:p>
            <a:pPr marL="486000" lvl="1" indent="-324000">
              <a:spcAft>
                <a:spcPts val="1200"/>
              </a:spcAft>
              <a:buClr>
                <a:srgbClr val="4A7DCB"/>
              </a:buClr>
              <a:buFont typeface="Trebuchet MS" panose="020B0603020202020204" pitchFamily="34" charset="0"/>
              <a:buChar char="•"/>
              <a:defRPr/>
            </a:pPr>
            <a:r>
              <a:rPr lang="en-US" sz="2000" b="1" dirty="0">
                <a:solidFill>
                  <a:schemeClr val="accent2"/>
                </a:solidFill>
                <a:latin typeface="Trebuchet MS"/>
              </a:rPr>
              <a:t>Consider tradeoffs </a:t>
            </a:r>
            <a:r>
              <a:rPr lang="en-US" sz="2000" dirty="0">
                <a:solidFill>
                  <a:srgbClr val="575757"/>
                </a:solidFill>
                <a:latin typeface="Trebuchet MS"/>
              </a:rPr>
              <a:t>between addressing current challenges and new, emerging threats</a:t>
            </a:r>
            <a:endParaRPr lang="en-US" sz="2000" b="1" dirty="0">
              <a:solidFill>
                <a:srgbClr val="575757"/>
              </a:solidFill>
              <a:latin typeface="Trebuchet MS"/>
            </a:endParaRPr>
          </a:p>
          <a:p>
            <a:pPr marL="486000" lvl="1" indent="-324000">
              <a:spcAft>
                <a:spcPts val="1200"/>
              </a:spcAft>
              <a:buClr>
                <a:srgbClr val="4A7DCB"/>
              </a:buClr>
              <a:buFont typeface="Trebuchet MS" panose="020B0603020202020204" pitchFamily="34" charset="0"/>
              <a:buChar char="•"/>
              <a:defRPr/>
            </a:pPr>
            <a:r>
              <a:rPr lang="en-US" sz="2000" b="1" dirty="0">
                <a:solidFill>
                  <a:schemeClr val="accent2"/>
                </a:solidFill>
                <a:latin typeface="Trebuchet MS"/>
              </a:rPr>
              <a:t>Design and monitor programs </a:t>
            </a:r>
            <a:r>
              <a:rPr lang="en-US" sz="2000" dirty="0">
                <a:solidFill>
                  <a:srgbClr val="575757"/>
                </a:solidFill>
                <a:latin typeface="Trebuchet MS"/>
              </a:rPr>
              <a:t>in a way that maximizes outcomes for target populations</a:t>
            </a:r>
          </a:p>
          <a:p>
            <a:pPr marL="486000" lvl="1" indent="-324000">
              <a:buClr>
                <a:srgbClr val="4A7DCB"/>
              </a:buClr>
              <a:buFont typeface="Trebuchet MS" panose="020B0603020202020204" pitchFamily="34" charset="0"/>
              <a:buChar char="•"/>
              <a:defRPr/>
            </a:pPr>
            <a:endParaRPr lang="en-US" sz="2000" dirty="0">
              <a:solidFill>
                <a:srgbClr val="575757"/>
              </a:solidFill>
              <a:latin typeface="Trebuchet M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74650DA-3B51-0CD3-37F4-DA1C6210F397}"/>
              </a:ext>
            </a:extLst>
          </p:cNvPr>
          <p:cNvSpPr/>
          <p:nvPr/>
        </p:nvSpPr>
        <p:spPr>
          <a:xfrm>
            <a:off x="7560930" y="3911089"/>
            <a:ext cx="4241524" cy="724862"/>
          </a:xfrm>
          <a:prstGeom prst="rect">
            <a:avLst/>
          </a:prstGeom>
          <a:solidFill>
            <a:srgbClr val="5DA8DD"/>
          </a:solidFill>
          <a:ln w="9525" cap="rnd" cmpd="sng" algn="ctr">
            <a:solidFill>
              <a:srgbClr val="5DA8DD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Evaluate opportunity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u="sng">
                <a:solidFill>
                  <a:srgbClr val="FFFFFF"/>
                </a:solidFill>
                <a:latin typeface="Trebuchet MS"/>
              </a:rPr>
              <a:t>What</a:t>
            </a:r>
            <a:r>
              <a:rPr lang="en-US" sz="2000">
                <a:solidFill>
                  <a:srgbClr val="FFFFFF"/>
                </a:solidFill>
                <a:latin typeface="Trebuchet MS"/>
              </a:rPr>
              <a:t> should we focus on?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74A0A5F1-47BF-F7AD-15DB-311F7C79291D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636207" y="3766730"/>
            <a:ext cx="306910" cy="306910"/>
          </a:xfrm>
          <a:prstGeom prst="ellipse">
            <a:avLst/>
          </a:prstGeom>
          <a:solidFill>
            <a:srgbClr val="5DA8DD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A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2E35484-C86D-0F6B-5692-C0B7FF92F767}"/>
              </a:ext>
            </a:extLst>
          </p:cNvPr>
          <p:cNvSpPr/>
          <p:nvPr/>
        </p:nvSpPr>
        <p:spPr>
          <a:xfrm>
            <a:off x="7560930" y="5148104"/>
            <a:ext cx="4241524" cy="724862"/>
          </a:xfrm>
          <a:prstGeom prst="rect">
            <a:avLst/>
          </a:prstGeom>
          <a:solidFill>
            <a:srgbClr val="0084CB"/>
          </a:solidFill>
          <a:ln w="9525" cap="rnd" cmpd="sng" algn="ctr">
            <a:solidFill>
              <a:srgbClr val="1B365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Design initiative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u="sng" dirty="0">
                <a:solidFill>
                  <a:srgbClr val="FFFFFF"/>
                </a:solidFill>
                <a:latin typeface="Trebuchet MS"/>
              </a:rPr>
              <a:t>How</a:t>
            </a:r>
            <a:r>
              <a:rPr lang="en-US" sz="2000" dirty="0">
                <a:solidFill>
                  <a:srgbClr val="FFFFFF"/>
                </a:solidFill>
                <a:latin typeface="Trebuchet MS"/>
              </a:rPr>
              <a:t> should we deliver?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8C7E259C-0FB6-051A-3565-23B7104DA58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636207" y="4982463"/>
            <a:ext cx="306910" cy="306910"/>
          </a:xfrm>
          <a:prstGeom prst="ellipse">
            <a:avLst/>
          </a:prstGeom>
          <a:solidFill>
            <a:srgbClr val="0084CB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B</a:t>
            </a:r>
          </a:p>
        </p:txBody>
      </p:sp>
      <p:sp>
        <p:nvSpPr>
          <p:cNvPr id="31" name="Title 5">
            <a:extLst>
              <a:ext uri="{FF2B5EF4-FFF2-40B4-BE49-F238E27FC236}">
                <a16:creationId xmlns:a16="http://schemas.microsoft.com/office/drawing/2014/main" id="{D1809187-6456-4BF2-CBA1-4CA12FECFA32}"/>
              </a:ext>
            </a:extLst>
          </p:cNvPr>
          <p:cNvSpPr txBox="1">
            <a:spLocks/>
          </p:cNvSpPr>
          <p:nvPr/>
        </p:nvSpPr>
        <p:spPr>
          <a:xfrm>
            <a:off x="7621316" y="622800"/>
            <a:ext cx="4501109" cy="6093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2200" dirty="0">
                <a:solidFill>
                  <a:srgbClr val="FFFFFF"/>
                </a:solidFill>
              </a:rPr>
              <a:t>…which can be utilized across      our portfolio of activities</a:t>
            </a:r>
            <a:endParaRPr lang="en-US" sz="2200" dirty="0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B2CB564B-EA38-CCA0-CD6E-E0A89FF4BA33}"/>
              </a:ext>
            </a:extLst>
          </p:cNvPr>
          <p:cNvSpPr/>
          <p:nvPr/>
        </p:nvSpPr>
        <p:spPr>
          <a:xfrm>
            <a:off x="7462289" y="1808085"/>
            <a:ext cx="1105239" cy="514610"/>
          </a:xfrm>
          <a:prstGeom prst="rect">
            <a:avLst/>
          </a:prstGeom>
          <a:solidFill>
            <a:srgbClr val="1B365F"/>
          </a:solidFill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Policy projects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8AFB5DA1-C4D5-2321-74AD-EC13337E348C}"/>
              </a:ext>
            </a:extLst>
          </p:cNvPr>
          <p:cNvSpPr/>
          <p:nvPr/>
        </p:nvSpPr>
        <p:spPr>
          <a:xfrm>
            <a:off x="8994312" y="1808085"/>
            <a:ext cx="1105239" cy="514610"/>
          </a:xfrm>
          <a:prstGeom prst="rect">
            <a:avLst/>
          </a:prstGeom>
          <a:solidFill>
            <a:srgbClr val="1B365F"/>
          </a:solidFill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Strategic partnerships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87802312-D1B4-9459-30CF-8385C34C3180}"/>
              </a:ext>
            </a:extLst>
          </p:cNvPr>
          <p:cNvSpPr/>
          <p:nvPr/>
        </p:nvSpPr>
        <p:spPr>
          <a:xfrm>
            <a:off x="8228300" y="2476549"/>
            <a:ext cx="1105239" cy="514610"/>
          </a:xfrm>
          <a:prstGeom prst="rect">
            <a:avLst/>
          </a:prstGeom>
          <a:solidFill>
            <a:srgbClr val="1B365F"/>
          </a:solidFill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Grant programs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2836304A-9E0B-E8A5-DC2A-2A720E5198FE}"/>
              </a:ext>
            </a:extLst>
          </p:cNvPr>
          <p:cNvSpPr/>
          <p:nvPr/>
        </p:nvSpPr>
        <p:spPr>
          <a:xfrm>
            <a:off x="10526334" y="1808085"/>
            <a:ext cx="1105239" cy="514610"/>
          </a:xfrm>
          <a:prstGeom prst="rect">
            <a:avLst/>
          </a:prstGeom>
          <a:solidFill>
            <a:srgbClr val="1B365F"/>
          </a:solidFill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Data and analytics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91BFB078-65C0-69D6-EF84-F51521DA0467}"/>
              </a:ext>
            </a:extLst>
          </p:cNvPr>
          <p:cNvSpPr/>
          <p:nvPr/>
        </p:nvSpPr>
        <p:spPr>
          <a:xfrm>
            <a:off x="9760323" y="2476549"/>
            <a:ext cx="1105239" cy="514610"/>
          </a:xfrm>
          <a:prstGeom prst="rect">
            <a:avLst/>
          </a:prstGeom>
          <a:solidFill>
            <a:srgbClr val="1B365F"/>
          </a:solidFill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novation projects</a:t>
            </a:r>
          </a:p>
        </p:txBody>
      </p:sp>
      <p:cxnSp>
        <p:nvCxnSpPr>
          <p:cNvPr id="80" name="Straight Arrow Connector 79">
            <a:extLst>
              <a:ext uri="{FF2B5EF4-FFF2-40B4-BE49-F238E27FC236}">
                <a16:creationId xmlns:a16="http://schemas.microsoft.com/office/drawing/2014/main" id="{8B896133-1CC4-B374-2DD7-060710CD002E}"/>
              </a:ext>
            </a:extLst>
          </p:cNvPr>
          <p:cNvCxnSpPr>
            <a:cxnSpLocks/>
            <a:stCxn id="73" idx="2"/>
          </p:cNvCxnSpPr>
          <p:nvPr/>
        </p:nvCxnSpPr>
        <p:spPr>
          <a:xfrm flipH="1">
            <a:off x="9538018" y="2322695"/>
            <a:ext cx="8914" cy="1513808"/>
          </a:xfrm>
          <a:prstGeom prst="straightConnector1">
            <a:avLst/>
          </a:prstGeom>
          <a:ln w="9525" cap="rnd">
            <a:solidFill>
              <a:schemeClr val="bg1"/>
            </a:solidFill>
            <a:prstDash val="solid"/>
            <a:round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Arrow Connector 84">
            <a:extLst>
              <a:ext uri="{FF2B5EF4-FFF2-40B4-BE49-F238E27FC236}">
                <a16:creationId xmlns:a16="http://schemas.microsoft.com/office/drawing/2014/main" id="{3F60CF20-4F4A-3510-A75D-64ECE7F61EE0}"/>
              </a:ext>
            </a:extLst>
          </p:cNvPr>
          <p:cNvCxnSpPr>
            <a:cxnSpLocks/>
            <a:stCxn id="76" idx="2"/>
          </p:cNvCxnSpPr>
          <p:nvPr/>
        </p:nvCxnSpPr>
        <p:spPr>
          <a:xfrm flipH="1">
            <a:off x="9684208" y="2991159"/>
            <a:ext cx="628735" cy="696257"/>
          </a:xfrm>
          <a:prstGeom prst="straightConnector1">
            <a:avLst/>
          </a:prstGeom>
          <a:ln w="9525" cap="rnd">
            <a:solidFill>
              <a:schemeClr val="bg1"/>
            </a:solidFill>
            <a:prstDash val="solid"/>
            <a:round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Arrow Connector 87">
            <a:extLst>
              <a:ext uri="{FF2B5EF4-FFF2-40B4-BE49-F238E27FC236}">
                <a16:creationId xmlns:a16="http://schemas.microsoft.com/office/drawing/2014/main" id="{22F42980-C46B-B039-8368-7AC754DFE6BD}"/>
              </a:ext>
            </a:extLst>
          </p:cNvPr>
          <p:cNvCxnSpPr>
            <a:cxnSpLocks/>
            <a:stCxn id="74" idx="2"/>
          </p:cNvCxnSpPr>
          <p:nvPr/>
        </p:nvCxnSpPr>
        <p:spPr>
          <a:xfrm>
            <a:off x="8780920" y="2991159"/>
            <a:ext cx="643050" cy="696257"/>
          </a:xfrm>
          <a:prstGeom prst="straightConnector1">
            <a:avLst/>
          </a:prstGeom>
          <a:ln w="9525" cap="rnd">
            <a:solidFill>
              <a:schemeClr val="bg1"/>
            </a:solidFill>
            <a:prstDash val="solid"/>
            <a:round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7A172D42-F466-95D6-44E3-D57A0B5D9460}"/>
              </a:ext>
            </a:extLst>
          </p:cNvPr>
          <p:cNvSpPr/>
          <p:nvPr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FEC00F"/>
          </a:solidFill>
          <a:ln w="9525" cap="rnd" cmpd="sng" algn="ctr">
            <a:solidFill>
              <a:srgbClr val="FEC00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0">
                <a:solidFill>
                  <a:srgbClr val="231F20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Draft – pre-decisional – for discussion only</a:t>
            </a:r>
            <a:endParaRPr lang="en-US" sz="1200" b="0">
              <a:solidFill>
                <a:srgbClr val="231F2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739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82FDE17-5A73-2BA2-7011-9F2D7153F1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210618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82FDE17-5A73-2BA2-7011-9F2D7153F1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Arrow: Pentagon 4">
            <a:extLst>
              <a:ext uri="{FF2B5EF4-FFF2-40B4-BE49-F238E27FC236}">
                <a16:creationId xmlns:a16="http://schemas.microsoft.com/office/drawing/2014/main" id="{08E17237-8BB3-B521-31B2-EA684AB8CDA9}"/>
              </a:ext>
            </a:extLst>
          </p:cNvPr>
          <p:cNvSpPr/>
          <p:nvPr/>
        </p:nvSpPr>
        <p:spPr>
          <a:xfrm>
            <a:off x="630000" y="1392148"/>
            <a:ext cx="2994894" cy="959843"/>
          </a:xfrm>
          <a:prstGeom prst="homePlate">
            <a:avLst>
              <a:gd name="adj" fmla="val 34706"/>
            </a:avLst>
          </a:prstGeom>
          <a:solidFill>
            <a:srgbClr val="0084CB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>
                <a:solidFill>
                  <a:srgbClr val="FFFFFF"/>
                </a:solidFill>
              </a:rPr>
              <a:t>Need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773BB6C-83F5-FA4D-FD66-16E64663DB66}"/>
              </a:ext>
            </a:extLst>
          </p:cNvPr>
          <p:cNvSpPr/>
          <p:nvPr/>
        </p:nvSpPr>
        <p:spPr>
          <a:xfrm>
            <a:off x="888302" y="2351991"/>
            <a:ext cx="2388515" cy="3603627"/>
          </a:xfrm>
          <a:prstGeom prst="rect">
            <a:avLst/>
          </a:prstGeom>
          <a:solidFill>
            <a:srgbClr val="DDF3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0040" tIns="182880" rIns="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buClr>
                <a:srgbClr val="4A7DCB"/>
              </a:buClr>
            </a:pPr>
            <a:endParaRPr lang="en-US" b="1">
              <a:solidFill>
                <a:schemeClr val="accent2"/>
              </a:solidFill>
            </a:endParaRPr>
          </a:p>
        </p:txBody>
      </p:sp>
      <p:sp>
        <p:nvSpPr>
          <p:cNvPr id="8" name="Right Triangle 7">
            <a:extLst>
              <a:ext uri="{FF2B5EF4-FFF2-40B4-BE49-F238E27FC236}">
                <a16:creationId xmlns:a16="http://schemas.microsoft.com/office/drawing/2014/main" id="{FCF677AB-CDA6-2060-8991-7C2EBCE083BD}"/>
              </a:ext>
            </a:extLst>
          </p:cNvPr>
          <p:cNvSpPr/>
          <p:nvPr/>
        </p:nvSpPr>
        <p:spPr>
          <a:xfrm rot="10800000">
            <a:off x="648844" y="2351990"/>
            <a:ext cx="239457" cy="139752"/>
          </a:xfrm>
          <a:prstGeom prst="rtTriangle">
            <a:avLst/>
          </a:prstGeom>
          <a:solidFill>
            <a:srgbClr val="4A7DCB"/>
          </a:solidFill>
          <a:ln w="9525" cap="rnd" cmpd="sng" algn="ctr">
            <a:solidFill>
              <a:srgbClr val="4A7DCB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grpSp>
        <p:nvGrpSpPr>
          <p:cNvPr id="11" name="bcgBugsWhite_">
            <a:extLst>
              <a:ext uri="{FF2B5EF4-FFF2-40B4-BE49-F238E27FC236}">
                <a16:creationId xmlns:a16="http://schemas.microsoft.com/office/drawing/2014/main" id="{DC8A11A1-6F5C-A712-043E-13703E39C79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69379" y="1459911"/>
            <a:ext cx="707830" cy="708523"/>
            <a:chOff x="2818" y="1137"/>
            <a:chExt cx="2044" cy="2046"/>
          </a:xfrm>
        </p:grpSpPr>
        <p:sp>
          <p:nvSpPr>
            <p:cNvPr id="12" name="AutoShape 7">
              <a:extLst>
                <a:ext uri="{FF2B5EF4-FFF2-40B4-BE49-F238E27FC236}">
                  <a16:creationId xmlns:a16="http://schemas.microsoft.com/office/drawing/2014/main" id="{B41709A0-160B-5C7A-3188-6D030BD7B39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818" y="1137"/>
              <a:ext cx="2044" cy="20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9">
              <a:extLst>
                <a:ext uri="{FF2B5EF4-FFF2-40B4-BE49-F238E27FC236}">
                  <a16:creationId xmlns:a16="http://schemas.microsoft.com/office/drawing/2014/main" id="{9E33B72A-D9CD-9490-6850-62606E5D770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47" y="1395"/>
              <a:ext cx="1788" cy="1550"/>
            </a:xfrm>
            <a:custGeom>
              <a:avLst/>
              <a:gdLst>
                <a:gd name="T0" fmla="*/ 866 w 874"/>
                <a:gd name="T1" fmla="*/ 724 h 757"/>
                <a:gd name="T2" fmla="*/ 456 w 874"/>
                <a:gd name="T3" fmla="*/ 14 h 757"/>
                <a:gd name="T4" fmla="*/ 418 w 874"/>
                <a:gd name="T5" fmla="*/ 14 h 757"/>
                <a:gd name="T6" fmla="*/ 8 w 874"/>
                <a:gd name="T7" fmla="*/ 724 h 757"/>
                <a:gd name="T8" fmla="*/ 27 w 874"/>
                <a:gd name="T9" fmla="*/ 757 h 757"/>
                <a:gd name="T10" fmla="*/ 847 w 874"/>
                <a:gd name="T11" fmla="*/ 757 h 757"/>
                <a:gd name="T12" fmla="*/ 866 w 874"/>
                <a:gd name="T13" fmla="*/ 724 h 757"/>
                <a:gd name="T14" fmla="*/ 397 w 874"/>
                <a:gd name="T15" fmla="*/ 206 h 757"/>
                <a:gd name="T16" fmla="*/ 477 w 874"/>
                <a:gd name="T17" fmla="*/ 206 h 757"/>
                <a:gd name="T18" fmla="*/ 477 w 874"/>
                <a:gd name="T19" fmla="*/ 332 h 757"/>
                <a:gd name="T20" fmla="*/ 453 w 874"/>
                <a:gd name="T21" fmla="*/ 548 h 757"/>
                <a:gd name="T22" fmla="*/ 421 w 874"/>
                <a:gd name="T23" fmla="*/ 548 h 757"/>
                <a:gd name="T24" fmla="*/ 397 w 874"/>
                <a:gd name="T25" fmla="*/ 332 h 757"/>
                <a:gd name="T26" fmla="*/ 397 w 874"/>
                <a:gd name="T27" fmla="*/ 206 h 757"/>
                <a:gd name="T28" fmla="*/ 473 w 874"/>
                <a:gd name="T29" fmla="*/ 658 h 757"/>
                <a:gd name="T30" fmla="*/ 438 w 874"/>
                <a:gd name="T31" fmla="*/ 673 h 757"/>
                <a:gd name="T32" fmla="*/ 402 w 874"/>
                <a:gd name="T33" fmla="*/ 658 h 757"/>
                <a:gd name="T34" fmla="*/ 386 w 874"/>
                <a:gd name="T35" fmla="*/ 622 h 757"/>
                <a:gd name="T36" fmla="*/ 402 w 874"/>
                <a:gd name="T37" fmla="*/ 586 h 757"/>
                <a:gd name="T38" fmla="*/ 438 w 874"/>
                <a:gd name="T39" fmla="*/ 571 h 757"/>
                <a:gd name="T40" fmla="*/ 473 w 874"/>
                <a:gd name="T41" fmla="*/ 586 h 757"/>
                <a:gd name="T42" fmla="*/ 488 w 874"/>
                <a:gd name="T43" fmla="*/ 622 h 757"/>
                <a:gd name="T44" fmla="*/ 473 w 874"/>
                <a:gd name="T45" fmla="*/ 658 h 7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74" h="757">
                  <a:moveTo>
                    <a:pt x="866" y="724"/>
                  </a:moveTo>
                  <a:cubicBezTo>
                    <a:pt x="456" y="14"/>
                    <a:pt x="456" y="14"/>
                    <a:pt x="456" y="14"/>
                  </a:cubicBezTo>
                  <a:cubicBezTo>
                    <a:pt x="448" y="0"/>
                    <a:pt x="426" y="0"/>
                    <a:pt x="418" y="14"/>
                  </a:cubicBezTo>
                  <a:cubicBezTo>
                    <a:pt x="8" y="724"/>
                    <a:pt x="8" y="724"/>
                    <a:pt x="8" y="724"/>
                  </a:cubicBezTo>
                  <a:cubicBezTo>
                    <a:pt x="0" y="738"/>
                    <a:pt x="10" y="757"/>
                    <a:pt x="27" y="757"/>
                  </a:cubicBezTo>
                  <a:cubicBezTo>
                    <a:pt x="847" y="757"/>
                    <a:pt x="847" y="757"/>
                    <a:pt x="847" y="757"/>
                  </a:cubicBezTo>
                  <a:cubicBezTo>
                    <a:pt x="864" y="757"/>
                    <a:pt x="874" y="738"/>
                    <a:pt x="866" y="724"/>
                  </a:cubicBezTo>
                  <a:close/>
                  <a:moveTo>
                    <a:pt x="397" y="206"/>
                  </a:moveTo>
                  <a:cubicBezTo>
                    <a:pt x="477" y="206"/>
                    <a:pt x="477" y="206"/>
                    <a:pt x="477" y="206"/>
                  </a:cubicBezTo>
                  <a:cubicBezTo>
                    <a:pt x="477" y="332"/>
                    <a:pt x="477" y="332"/>
                    <a:pt x="477" y="332"/>
                  </a:cubicBezTo>
                  <a:cubicBezTo>
                    <a:pt x="477" y="373"/>
                    <a:pt x="470" y="446"/>
                    <a:pt x="453" y="548"/>
                  </a:cubicBezTo>
                  <a:cubicBezTo>
                    <a:pt x="421" y="548"/>
                    <a:pt x="421" y="548"/>
                    <a:pt x="421" y="548"/>
                  </a:cubicBezTo>
                  <a:cubicBezTo>
                    <a:pt x="405" y="446"/>
                    <a:pt x="397" y="373"/>
                    <a:pt x="397" y="332"/>
                  </a:cubicBezTo>
                  <a:lnTo>
                    <a:pt x="397" y="206"/>
                  </a:lnTo>
                  <a:close/>
                  <a:moveTo>
                    <a:pt x="473" y="658"/>
                  </a:moveTo>
                  <a:cubicBezTo>
                    <a:pt x="464" y="668"/>
                    <a:pt x="452" y="673"/>
                    <a:pt x="438" y="673"/>
                  </a:cubicBezTo>
                  <a:cubicBezTo>
                    <a:pt x="423" y="673"/>
                    <a:pt x="411" y="668"/>
                    <a:pt x="402" y="658"/>
                  </a:cubicBezTo>
                  <a:cubicBezTo>
                    <a:pt x="392" y="648"/>
                    <a:pt x="386" y="636"/>
                    <a:pt x="386" y="622"/>
                  </a:cubicBezTo>
                  <a:cubicBezTo>
                    <a:pt x="386" y="608"/>
                    <a:pt x="392" y="596"/>
                    <a:pt x="402" y="586"/>
                  </a:cubicBezTo>
                  <a:cubicBezTo>
                    <a:pt x="411" y="576"/>
                    <a:pt x="423" y="571"/>
                    <a:pt x="438" y="571"/>
                  </a:cubicBezTo>
                  <a:cubicBezTo>
                    <a:pt x="452" y="571"/>
                    <a:pt x="464" y="576"/>
                    <a:pt x="473" y="586"/>
                  </a:cubicBezTo>
                  <a:cubicBezTo>
                    <a:pt x="483" y="596"/>
                    <a:pt x="488" y="608"/>
                    <a:pt x="488" y="622"/>
                  </a:cubicBezTo>
                  <a:cubicBezTo>
                    <a:pt x="488" y="636"/>
                    <a:pt x="483" y="648"/>
                    <a:pt x="473" y="65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AF23C205-99FD-8AA8-62BC-C81780D72B78}"/>
              </a:ext>
            </a:extLst>
          </p:cNvPr>
          <p:cNvSpPr txBox="1"/>
          <p:nvPr/>
        </p:nvSpPr>
        <p:spPr>
          <a:xfrm>
            <a:off x="962502" y="2491741"/>
            <a:ext cx="2282216" cy="346387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1200"/>
              </a:spcAft>
            </a:pPr>
            <a:r>
              <a:rPr lang="en-US" sz="1400">
                <a:solidFill>
                  <a:srgbClr val="231F20"/>
                </a:solidFill>
                <a:latin typeface="+mj-lt"/>
              </a:rPr>
              <a:t>Does this address a growing or emerging </a:t>
            </a:r>
            <a:r>
              <a:rPr lang="en-US" sz="1400" b="1">
                <a:solidFill>
                  <a:srgbClr val="0084CB"/>
                </a:solidFill>
                <a:latin typeface="+mj-lt"/>
              </a:rPr>
              <a:t>mental health need? </a:t>
            </a:r>
            <a:endParaRPr lang="en-US" sz="1400" b="1">
              <a:solidFill>
                <a:srgbClr val="231F20"/>
              </a:solidFill>
              <a:latin typeface="+mj-lt"/>
            </a:endParaRPr>
          </a:p>
          <a:p>
            <a:pPr>
              <a:spcAft>
                <a:spcPts val="1200"/>
              </a:spcAft>
            </a:pPr>
            <a:r>
              <a:rPr lang="en-US" sz="1400">
                <a:solidFill>
                  <a:srgbClr val="231F20"/>
                </a:solidFill>
                <a:latin typeface="+mj-lt"/>
              </a:rPr>
              <a:t>Does this target a </a:t>
            </a:r>
            <a:r>
              <a:rPr lang="en-US" sz="1400" b="1">
                <a:solidFill>
                  <a:srgbClr val="0084CB"/>
                </a:solidFill>
                <a:latin typeface="+mj-lt"/>
              </a:rPr>
              <a:t>high-risk </a:t>
            </a:r>
            <a:r>
              <a:rPr lang="en-US" sz="1400">
                <a:solidFill>
                  <a:srgbClr val="231F20"/>
                </a:solidFill>
                <a:latin typeface="+mj-lt"/>
              </a:rPr>
              <a:t>or </a:t>
            </a:r>
            <a:r>
              <a:rPr lang="en-US" sz="1400" b="1">
                <a:solidFill>
                  <a:srgbClr val="0084CB"/>
                </a:solidFill>
                <a:latin typeface="+mj-lt"/>
              </a:rPr>
              <a:t>underserved population</a:t>
            </a:r>
            <a:r>
              <a:rPr lang="en-US" sz="1400">
                <a:solidFill>
                  <a:srgbClr val="0084CB"/>
                </a:solidFill>
                <a:latin typeface="+mj-lt"/>
              </a:rPr>
              <a:t>? </a:t>
            </a:r>
            <a:endParaRPr lang="en-US" sz="1400">
              <a:solidFill>
                <a:srgbClr val="231F20"/>
              </a:solidFill>
              <a:latin typeface="+mj-lt"/>
            </a:endParaRPr>
          </a:p>
          <a:p>
            <a:pPr>
              <a:spcAft>
                <a:spcPts val="1200"/>
              </a:spcAft>
            </a:pPr>
            <a:r>
              <a:rPr lang="en-US" sz="1400">
                <a:solidFill>
                  <a:srgbClr val="231F20"/>
                </a:solidFill>
                <a:latin typeface="+mj-lt"/>
              </a:rPr>
              <a:t>Has this need been </a:t>
            </a:r>
            <a:r>
              <a:rPr lang="en-US" sz="1400" b="1">
                <a:solidFill>
                  <a:srgbClr val="0084CB"/>
                </a:solidFill>
                <a:latin typeface="+mj-lt"/>
              </a:rPr>
              <a:t>identified and elevated by the community</a:t>
            </a:r>
            <a:r>
              <a:rPr lang="en-US" sz="1400" b="1">
                <a:solidFill>
                  <a:schemeClr val="accent2"/>
                </a:solidFill>
                <a:latin typeface="+mj-lt"/>
              </a:rPr>
              <a:t>?</a:t>
            </a:r>
          </a:p>
          <a:p>
            <a:pPr>
              <a:spcAft>
                <a:spcPts val="1200"/>
              </a:spcAft>
            </a:pPr>
            <a:r>
              <a:rPr lang="en-US" sz="1400">
                <a:solidFill>
                  <a:srgbClr val="231F20"/>
                </a:solidFill>
                <a:latin typeface="+mj-lt"/>
              </a:rPr>
              <a:t>Does this address an </a:t>
            </a:r>
            <a:r>
              <a:rPr lang="en-US" sz="1400" b="1">
                <a:solidFill>
                  <a:srgbClr val="158FD0"/>
                </a:solidFill>
                <a:latin typeface="+mj-lt"/>
              </a:rPr>
              <a:t>underfunded</a:t>
            </a:r>
            <a:r>
              <a:rPr lang="en-US" sz="1400">
                <a:solidFill>
                  <a:srgbClr val="231F20"/>
                </a:solidFill>
                <a:latin typeface="+mj-lt"/>
              </a:rPr>
              <a:t> issue?</a:t>
            </a:r>
            <a:endParaRPr lang="en-US" sz="1400" b="1">
              <a:solidFill>
                <a:schemeClr val="accent2"/>
              </a:solidFill>
              <a:latin typeface="+mj-lt"/>
            </a:endParaRPr>
          </a:p>
          <a:p>
            <a:endParaRPr lang="en-US" sz="1400" b="1">
              <a:solidFill>
                <a:schemeClr val="accent2"/>
              </a:solidFill>
              <a:latin typeface="+mj-lt"/>
            </a:endParaRPr>
          </a:p>
          <a:p>
            <a:r>
              <a:rPr lang="en-US" sz="1400">
                <a:solidFill>
                  <a:schemeClr val="accent2"/>
                </a:solidFill>
                <a:latin typeface="+mj-lt"/>
              </a:rPr>
              <a:t> </a:t>
            </a:r>
          </a:p>
        </p:txBody>
      </p:sp>
      <p:sp>
        <p:nvSpPr>
          <p:cNvPr id="16" name="Arrow: Chevron 15">
            <a:extLst>
              <a:ext uri="{FF2B5EF4-FFF2-40B4-BE49-F238E27FC236}">
                <a16:creationId xmlns:a16="http://schemas.microsoft.com/office/drawing/2014/main" id="{3762DC99-46AA-14D2-6FED-E388222C0367}"/>
              </a:ext>
            </a:extLst>
          </p:cNvPr>
          <p:cNvSpPr/>
          <p:nvPr/>
        </p:nvSpPr>
        <p:spPr>
          <a:xfrm>
            <a:off x="3481825" y="1392147"/>
            <a:ext cx="2860035" cy="959843"/>
          </a:xfrm>
          <a:prstGeom prst="chevron">
            <a:avLst>
              <a:gd name="adj" fmla="val 35010"/>
            </a:avLst>
          </a:prstGeom>
          <a:solidFill>
            <a:schemeClr val="accent6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>
                <a:solidFill>
                  <a:srgbClr val="FFFFFF"/>
                </a:solidFill>
              </a:rPr>
              <a:t>        Impact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8230A50-5EAC-EFB1-9B69-DA40801FE1D2}"/>
              </a:ext>
            </a:extLst>
          </p:cNvPr>
          <p:cNvSpPr/>
          <p:nvPr/>
        </p:nvSpPr>
        <p:spPr>
          <a:xfrm>
            <a:off x="3583114" y="2351993"/>
            <a:ext cx="2388515" cy="360362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grpSp>
        <p:nvGrpSpPr>
          <p:cNvPr id="36" name="bcgIconsWhite_Target ">
            <a:extLst>
              <a:ext uri="{FF2B5EF4-FFF2-40B4-BE49-F238E27FC236}">
                <a16:creationId xmlns:a16="http://schemas.microsoft.com/office/drawing/2014/main" id="{FBD1E21A-1724-A2F2-3632-773D618B20F4}"/>
              </a:ext>
            </a:extLst>
          </p:cNvPr>
          <p:cNvGrpSpPr>
            <a:grpSpLocks noChangeAspect="1"/>
          </p:cNvGrpSpPr>
          <p:nvPr/>
        </p:nvGrpSpPr>
        <p:grpSpPr>
          <a:xfrm>
            <a:off x="3816047" y="1367024"/>
            <a:ext cx="959843" cy="959843"/>
            <a:chOff x="5273675" y="2606675"/>
            <a:chExt cx="1644650" cy="1644650"/>
          </a:xfrm>
        </p:grpSpPr>
        <p:sp>
          <p:nvSpPr>
            <p:cNvPr id="37" name="AutoShape 3">
              <a:extLst>
                <a:ext uri="{FF2B5EF4-FFF2-40B4-BE49-F238E27FC236}">
                  <a16:creationId xmlns:a16="http://schemas.microsoft.com/office/drawing/2014/main" id="{985490A3-6E81-7ECF-0F0D-666D614C7A9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15">
              <a:extLst>
                <a:ext uri="{FF2B5EF4-FFF2-40B4-BE49-F238E27FC236}">
                  <a16:creationId xmlns:a16="http://schemas.microsoft.com/office/drawing/2014/main" id="{B6317F63-836B-A352-EEEF-E19A1FA905B9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4663" y="2895600"/>
              <a:ext cx="1216741" cy="1071563"/>
            </a:xfrm>
            <a:custGeom>
              <a:avLst/>
              <a:gdLst>
                <a:gd name="connsiteX0" fmla="*/ 536139 w 1216741"/>
                <a:gd name="connsiteY0" fmla="*/ 336550 h 1071563"/>
                <a:gd name="connsiteX1" fmla="*/ 662761 w 1216741"/>
                <a:gd name="connsiteY1" fmla="*/ 382252 h 1071563"/>
                <a:gd name="connsiteX2" fmla="*/ 584069 w 1216741"/>
                <a:gd name="connsiteY2" fmla="*/ 435809 h 1071563"/>
                <a:gd name="connsiteX3" fmla="*/ 536139 w 1216741"/>
                <a:gd name="connsiteY3" fmla="*/ 425097 h 1071563"/>
                <a:gd name="connsiteX4" fmla="*/ 425257 w 1216741"/>
                <a:gd name="connsiteY4" fmla="*/ 535782 h 1071563"/>
                <a:gd name="connsiteX5" fmla="*/ 536139 w 1216741"/>
                <a:gd name="connsiteY5" fmla="*/ 646466 h 1071563"/>
                <a:gd name="connsiteX6" fmla="*/ 646307 w 1216741"/>
                <a:gd name="connsiteY6" fmla="*/ 535782 h 1071563"/>
                <a:gd name="connsiteX7" fmla="*/ 646307 w 1216741"/>
                <a:gd name="connsiteY7" fmla="*/ 526498 h 1071563"/>
                <a:gd name="connsiteX8" fmla="*/ 724998 w 1216741"/>
                <a:gd name="connsiteY8" fmla="*/ 472227 h 1071563"/>
                <a:gd name="connsiteX9" fmla="*/ 735013 w 1216741"/>
                <a:gd name="connsiteY9" fmla="*/ 535782 h 1071563"/>
                <a:gd name="connsiteX10" fmla="*/ 536139 w 1216741"/>
                <a:gd name="connsiteY10" fmla="*/ 735013 h 1071563"/>
                <a:gd name="connsiteX11" fmla="*/ 336550 w 1216741"/>
                <a:gd name="connsiteY11" fmla="*/ 535782 h 1071563"/>
                <a:gd name="connsiteX12" fmla="*/ 536139 w 1216741"/>
                <a:gd name="connsiteY12" fmla="*/ 336550 h 1071563"/>
                <a:gd name="connsiteX13" fmla="*/ 536933 w 1216741"/>
                <a:gd name="connsiteY13" fmla="*/ 171450 h 1071563"/>
                <a:gd name="connsiteX14" fmla="*/ 802998 w 1216741"/>
                <a:gd name="connsiteY14" fmla="*/ 286240 h 1071563"/>
                <a:gd name="connsiteX15" fmla="*/ 728615 w 1216741"/>
                <a:gd name="connsiteY15" fmla="*/ 337574 h 1071563"/>
                <a:gd name="connsiteX16" fmla="*/ 536933 w 1216741"/>
                <a:gd name="connsiteY16" fmla="*/ 259859 h 1071563"/>
                <a:gd name="connsiteX17" fmla="*/ 260139 w 1216741"/>
                <a:gd name="connsiteY17" fmla="*/ 535782 h 1071563"/>
                <a:gd name="connsiteX18" fmla="*/ 536933 w 1216741"/>
                <a:gd name="connsiteY18" fmla="*/ 811704 h 1071563"/>
                <a:gd name="connsiteX19" fmla="*/ 813012 w 1216741"/>
                <a:gd name="connsiteY19" fmla="*/ 535782 h 1071563"/>
                <a:gd name="connsiteX20" fmla="*/ 790840 w 1216741"/>
                <a:gd name="connsiteY20" fmla="*/ 427409 h 1071563"/>
                <a:gd name="connsiteX21" fmla="*/ 865223 w 1216741"/>
                <a:gd name="connsiteY21" fmla="*/ 376788 h 1071563"/>
                <a:gd name="connsiteX22" fmla="*/ 901700 w 1216741"/>
                <a:gd name="connsiteY22" fmla="*/ 535782 h 1071563"/>
                <a:gd name="connsiteX23" fmla="*/ 536933 w 1216741"/>
                <a:gd name="connsiteY23" fmla="*/ 900113 h 1071563"/>
                <a:gd name="connsiteX24" fmla="*/ 171450 w 1216741"/>
                <a:gd name="connsiteY24" fmla="*/ 535782 h 1071563"/>
                <a:gd name="connsiteX25" fmla="*/ 536933 w 1216741"/>
                <a:gd name="connsiteY25" fmla="*/ 171450 h 1071563"/>
                <a:gd name="connsiteX26" fmla="*/ 1150106 w 1216741"/>
                <a:gd name="connsiteY26" fmla="*/ 160165 h 1071563"/>
                <a:gd name="connsiteX27" fmla="*/ 1151542 w 1216741"/>
                <a:gd name="connsiteY27" fmla="*/ 160165 h 1071563"/>
                <a:gd name="connsiteX28" fmla="*/ 1213303 w 1216741"/>
                <a:gd name="connsiteY28" fmla="*/ 165825 h 1071563"/>
                <a:gd name="connsiteX29" fmla="*/ 1214740 w 1216741"/>
                <a:gd name="connsiteY29" fmla="*/ 172192 h 1071563"/>
                <a:gd name="connsiteX30" fmla="*/ 1043819 w 1216741"/>
                <a:gd name="connsiteY30" fmla="*/ 288218 h 1071563"/>
                <a:gd name="connsiteX31" fmla="*/ 1039510 w 1216741"/>
                <a:gd name="connsiteY31" fmla="*/ 288925 h 1071563"/>
                <a:gd name="connsiteX32" fmla="*/ 979185 w 1216741"/>
                <a:gd name="connsiteY32" fmla="*/ 281850 h 1071563"/>
                <a:gd name="connsiteX33" fmla="*/ 977749 w 1216741"/>
                <a:gd name="connsiteY33" fmla="*/ 275483 h 1071563"/>
                <a:gd name="connsiteX34" fmla="*/ 1150106 w 1216741"/>
                <a:gd name="connsiteY34" fmla="*/ 160165 h 1071563"/>
                <a:gd name="connsiteX35" fmla="*/ 1164252 w 1216741"/>
                <a:gd name="connsiteY35" fmla="*/ 89549 h 1071563"/>
                <a:gd name="connsiteX36" fmla="*/ 1174515 w 1216741"/>
                <a:gd name="connsiteY36" fmla="*/ 95897 h 1071563"/>
                <a:gd name="connsiteX37" fmla="*/ 1170231 w 1216741"/>
                <a:gd name="connsiteY37" fmla="*/ 118073 h 1071563"/>
                <a:gd name="connsiteX38" fmla="*/ 546242 w 1216741"/>
                <a:gd name="connsiteY38" fmla="*/ 548002 h 1071563"/>
                <a:gd name="connsiteX39" fmla="*/ 536961 w 1216741"/>
                <a:gd name="connsiteY39" fmla="*/ 550863 h 1071563"/>
                <a:gd name="connsiteX40" fmla="*/ 524110 w 1216741"/>
                <a:gd name="connsiteY40" fmla="*/ 543710 h 1071563"/>
                <a:gd name="connsiteX41" fmla="*/ 528394 w 1216741"/>
                <a:gd name="connsiteY41" fmla="*/ 522964 h 1071563"/>
                <a:gd name="connsiteX42" fmla="*/ 1152382 w 1216741"/>
                <a:gd name="connsiteY42" fmla="*/ 92321 h 1071563"/>
                <a:gd name="connsiteX43" fmla="*/ 1164252 w 1216741"/>
                <a:gd name="connsiteY43" fmla="*/ 89549 h 1071563"/>
                <a:gd name="connsiteX44" fmla="*/ 1119129 w 1216741"/>
                <a:gd name="connsiteY44" fmla="*/ 33891 h 1071563"/>
                <a:gd name="connsiteX45" fmla="*/ 1124825 w 1216741"/>
                <a:gd name="connsiteY45" fmla="*/ 37460 h 1071563"/>
                <a:gd name="connsiteX46" fmla="*/ 1108448 w 1216741"/>
                <a:gd name="connsiteY46" fmla="*/ 96702 h 1071563"/>
                <a:gd name="connsiteX47" fmla="*/ 1107736 w 1216741"/>
                <a:gd name="connsiteY47" fmla="*/ 98130 h 1071563"/>
                <a:gd name="connsiteX48" fmla="*/ 938271 w 1216741"/>
                <a:gd name="connsiteY48" fmla="*/ 215186 h 1071563"/>
                <a:gd name="connsiteX49" fmla="*/ 932574 w 1216741"/>
                <a:gd name="connsiteY49" fmla="*/ 212331 h 1071563"/>
                <a:gd name="connsiteX50" fmla="*/ 946815 w 1216741"/>
                <a:gd name="connsiteY50" fmla="*/ 153803 h 1071563"/>
                <a:gd name="connsiteX51" fmla="*/ 948951 w 1216741"/>
                <a:gd name="connsiteY51" fmla="*/ 150234 h 1071563"/>
                <a:gd name="connsiteX52" fmla="*/ 1119129 w 1216741"/>
                <a:gd name="connsiteY52" fmla="*/ 33891 h 1071563"/>
                <a:gd name="connsiteX53" fmla="*/ 536139 w 1216741"/>
                <a:gd name="connsiteY53" fmla="*/ 0 h 1071563"/>
                <a:gd name="connsiteX54" fmla="*/ 908577 w 1216741"/>
                <a:gd name="connsiteY54" fmla="*/ 150533 h 1071563"/>
                <a:gd name="connsiteX55" fmla="*/ 889276 w 1216741"/>
                <a:gd name="connsiteY55" fmla="*/ 226156 h 1071563"/>
                <a:gd name="connsiteX56" fmla="*/ 870690 w 1216741"/>
                <a:gd name="connsiteY56" fmla="*/ 238997 h 1071563"/>
                <a:gd name="connsiteX57" fmla="*/ 536139 w 1216741"/>
                <a:gd name="connsiteY57" fmla="*/ 88465 h 1071563"/>
                <a:gd name="connsiteX58" fmla="*/ 88642 w 1216741"/>
                <a:gd name="connsiteY58" fmla="*/ 535782 h 1071563"/>
                <a:gd name="connsiteX59" fmla="*/ 536139 w 1216741"/>
                <a:gd name="connsiteY59" fmla="*/ 983099 h 1071563"/>
                <a:gd name="connsiteX60" fmla="*/ 983636 w 1216741"/>
                <a:gd name="connsiteY60" fmla="*/ 535782 h 1071563"/>
                <a:gd name="connsiteX61" fmla="*/ 932882 w 1216741"/>
                <a:gd name="connsiteY61" fmla="*/ 328889 h 1071563"/>
                <a:gd name="connsiteX62" fmla="*/ 951468 w 1216741"/>
                <a:gd name="connsiteY62" fmla="*/ 316047 h 1071563"/>
                <a:gd name="connsiteX63" fmla="*/ 1029387 w 1216741"/>
                <a:gd name="connsiteY63" fmla="*/ 325322 h 1071563"/>
                <a:gd name="connsiteX64" fmla="*/ 1071563 w 1216741"/>
                <a:gd name="connsiteY64" fmla="*/ 535782 h 1071563"/>
                <a:gd name="connsiteX65" fmla="*/ 536139 w 1216741"/>
                <a:gd name="connsiteY65" fmla="*/ 1071563 h 1071563"/>
                <a:gd name="connsiteX66" fmla="*/ 0 w 1216741"/>
                <a:gd name="connsiteY66" fmla="*/ 535782 h 1071563"/>
                <a:gd name="connsiteX67" fmla="*/ 536139 w 1216741"/>
                <a:gd name="connsiteY67" fmla="*/ 0 h 1071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216741" h="1071563">
                  <a:moveTo>
                    <a:pt x="536139" y="336550"/>
                  </a:moveTo>
                  <a:cubicBezTo>
                    <a:pt x="583354" y="336550"/>
                    <a:pt x="627707" y="353688"/>
                    <a:pt x="662761" y="382252"/>
                  </a:cubicBezTo>
                  <a:cubicBezTo>
                    <a:pt x="584069" y="435809"/>
                    <a:pt x="584069" y="435809"/>
                    <a:pt x="584069" y="435809"/>
                  </a:cubicBezTo>
                  <a:cubicBezTo>
                    <a:pt x="569762" y="428668"/>
                    <a:pt x="553308" y="425097"/>
                    <a:pt x="536139" y="425097"/>
                  </a:cubicBezTo>
                  <a:cubicBezTo>
                    <a:pt x="474617" y="425097"/>
                    <a:pt x="425257" y="474370"/>
                    <a:pt x="425257" y="535782"/>
                  </a:cubicBezTo>
                  <a:cubicBezTo>
                    <a:pt x="425257" y="596479"/>
                    <a:pt x="474617" y="646466"/>
                    <a:pt x="536139" y="646466"/>
                  </a:cubicBezTo>
                  <a:cubicBezTo>
                    <a:pt x="596946" y="646466"/>
                    <a:pt x="646307" y="596479"/>
                    <a:pt x="646307" y="535782"/>
                  </a:cubicBezTo>
                  <a:cubicBezTo>
                    <a:pt x="646307" y="532211"/>
                    <a:pt x="646307" y="529355"/>
                    <a:pt x="646307" y="526498"/>
                  </a:cubicBezTo>
                  <a:cubicBezTo>
                    <a:pt x="724998" y="472227"/>
                    <a:pt x="724998" y="472227"/>
                    <a:pt x="724998" y="472227"/>
                  </a:cubicBezTo>
                  <a:cubicBezTo>
                    <a:pt x="731436" y="492222"/>
                    <a:pt x="735013" y="513645"/>
                    <a:pt x="735013" y="535782"/>
                  </a:cubicBezTo>
                  <a:cubicBezTo>
                    <a:pt x="735013" y="645752"/>
                    <a:pt x="645592" y="735013"/>
                    <a:pt x="536139" y="735013"/>
                  </a:cubicBezTo>
                  <a:cubicBezTo>
                    <a:pt x="425972" y="735013"/>
                    <a:pt x="336550" y="645752"/>
                    <a:pt x="336550" y="535782"/>
                  </a:cubicBezTo>
                  <a:cubicBezTo>
                    <a:pt x="336550" y="425812"/>
                    <a:pt x="425972" y="336550"/>
                    <a:pt x="536139" y="336550"/>
                  </a:cubicBezTo>
                  <a:close/>
                  <a:moveTo>
                    <a:pt x="536933" y="171450"/>
                  </a:moveTo>
                  <a:cubicBezTo>
                    <a:pt x="641356" y="171450"/>
                    <a:pt x="735767" y="215655"/>
                    <a:pt x="802998" y="286240"/>
                  </a:cubicBezTo>
                  <a:cubicBezTo>
                    <a:pt x="802998" y="286240"/>
                    <a:pt x="802998" y="286240"/>
                    <a:pt x="728615" y="337574"/>
                  </a:cubicBezTo>
                  <a:cubicBezTo>
                    <a:pt x="678548" y="289091"/>
                    <a:pt x="610602" y="259859"/>
                    <a:pt x="536933" y="259859"/>
                  </a:cubicBezTo>
                  <a:cubicBezTo>
                    <a:pt x="383874" y="259859"/>
                    <a:pt x="260139" y="383204"/>
                    <a:pt x="260139" y="535782"/>
                  </a:cubicBezTo>
                  <a:cubicBezTo>
                    <a:pt x="260139" y="687646"/>
                    <a:pt x="383874" y="811704"/>
                    <a:pt x="536933" y="811704"/>
                  </a:cubicBezTo>
                  <a:cubicBezTo>
                    <a:pt x="688562" y="811704"/>
                    <a:pt x="813012" y="687646"/>
                    <a:pt x="813012" y="535782"/>
                  </a:cubicBezTo>
                  <a:cubicBezTo>
                    <a:pt x="813012" y="497281"/>
                    <a:pt x="805144" y="460919"/>
                    <a:pt x="790840" y="427409"/>
                  </a:cubicBezTo>
                  <a:cubicBezTo>
                    <a:pt x="790840" y="427409"/>
                    <a:pt x="790840" y="427409"/>
                    <a:pt x="865223" y="376788"/>
                  </a:cubicBezTo>
                  <a:cubicBezTo>
                    <a:pt x="888826" y="424557"/>
                    <a:pt x="901700" y="478743"/>
                    <a:pt x="901700" y="535782"/>
                  </a:cubicBezTo>
                  <a:cubicBezTo>
                    <a:pt x="901700" y="736841"/>
                    <a:pt x="737913" y="900113"/>
                    <a:pt x="536933" y="900113"/>
                  </a:cubicBezTo>
                  <a:cubicBezTo>
                    <a:pt x="335238" y="900113"/>
                    <a:pt x="171450" y="736841"/>
                    <a:pt x="171450" y="535782"/>
                  </a:cubicBezTo>
                  <a:cubicBezTo>
                    <a:pt x="171450" y="334722"/>
                    <a:pt x="335238" y="171450"/>
                    <a:pt x="536933" y="171450"/>
                  </a:cubicBezTo>
                  <a:close/>
                  <a:moveTo>
                    <a:pt x="1150106" y="160165"/>
                  </a:moveTo>
                  <a:cubicBezTo>
                    <a:pt x="1150106" y="158750"/>
                    <a:pt x="1150106" y="158750"/>
                    <a:pt x="1151542" y="160165"/>
                  </a:cubicBezTo>
                  <a:cubicBezTo>
                    <a:pt x="1151542" y="160165"/>
                    <a:pt x="1151542" y="160165"/>
                    <a:pt x="1213303" y="165825"/>
                  </a:cubicBezTo>
                  <a:cubicBezTo>
                    <a:pt x="1217612" y="165825"/>
                    <a:pt x="1217612" y="170777"/>
                    <a:pt x="1214740" y="172192"/>
                  </a:cubicBezTo>
                  <a:cubicBezTo>
                    <a:pt x="1214740" y="172192"/>
                    <a:pt x="1214740" y="172192"/>
                    <a:pt x="1043819" y="288218"/>
                  </a:cubicBezTo>
                  <a:cubicBezTo>
                    <a:pt x="1042382" y="288218"/>
                    <a:pt x="1042382" y="288218"/>
                    <a:pt x="1039510" y="288925"/>
                  </a:cubicBezTo>
                  <a:cubicBezTo>
                    <a:pt x="1039510" y="288925"/>
                    <a:pt x="1039510" y="288925"/>
                    <a:pt x="979185" y="281850"/>
                  </a:cubicBezTo>
                  <a:cubicBezTo>
                    <a:pt x="976312" y="281143"/>
                    <a:pt x="976312" y="278313"/>
                    <a:pt x="977749" y="275483"/>
                  </a:cubicBezTo>
                  <a:cubicBezTo>
                    <a:pt x="977749" y="275483"/>
                    <a:pt x="977749" y="275483"/>
                    <a:pt x="1150106" y="160165"/>
                  </a:cubicBezTo>
                  <a:close/>
                  <a:moveTo>
                    <a:pt x="1164252" y="89549"/>
                  </a:moveTo>
                  <a:cubicBezTo>
                    <a:pt x="1168268" y="90175"/>
                    <a:pt x="1172016" y="92321"/>
                    <a:pt x="1174515" y="95897"/>
                  </a:cubicBezTo>
                  <a:cubicBezTo>
                    <a:pt x="1179512" y="103051"/>
                    <a:pt x="1177370" y="113066"/>
                    <a:pt x="1170231" y="118073"/>
                  </a:cubicBezTo>
                  <a:cubicBezTo>
                    <a:pt x="546242" y="548002"/>
                    <a:pt x="546242" y="548002"/>
                    <a:pt x="546242" y="548002"/>
                  </a:cubicBezTo>
                  <a:cubicBezTo>
                    <a:pt x="543386" y="550148"/>
                    <a:pt x="540531" y="550863"/>
                    <a:pt x="536961" y="550863"/>
                  </a:cubicBezTo>
                  <a:cubicBezTo>
                    <a:pt x="531963" y="550863"/>
                    <a:pt x="526966" y="548717"/>
                    <a:pt x="524110" y="543710"/>
                  </a:cubicBezTo>
                  <a:cubicBezTo>
                    <a:pt x="519112" y="537271"/>
                    <a:pt x="521254" y="527972"/>
                    <a:pt x="528394" y="522964"/>
                  </a:cubicBezTo>
                  <a:cubicBezTo>
                    <a:pt x="1152382" y="92321"/>
                    <a:pt x="1152382" y="92321"/>
                    <a:pt x="1152382" y="92321"/>
                  </a:cubicBezTo>
                  <a:cubicBezTo>
                    <a:pt x="1155952" y="89817"/>
                    <a:pt x="1160236" y="88923"/>
                    <a:pt x="1164252" y="89549"/>
                  </a:cubicBezTo>
                  <a:close/>
                  <a:moveTo>
                    <a:pt x="1119129" y="33891"/>
                  </a:moveTo>
                  <a:cubicBezTo>
                    <a:pt x="1121977" y="31750"/>
                    <a:pt x="1125537" y="33891"/>
                    <a:pt x="1124825" y="37460"/>
                  </a:cubicBezTo>
                  <a:cubicBezTo>
                    <a:pt x="1108448" y="96702"/>
                    <a:pt x="1108448" y="96702"/>
                    <a:pt x="1108448" y="96702"/>
                  </a:cubicBezTo>
                  <a:cubicBezTo>
                    <a:pt x="1108448" y="98130"/>
                    <a:pt x="1108448" y="98130"/>
                    <a:pt x="1107736" y="98130"/>
                  </a:cubicBezTo>
                  <a:cubicBezTo>
                    <a:pt x="938271" y="215186"/>
                    <a:pt x="938271" y="215186"/>
                    <a:pt x="938271" y="215186"/>
                  </a:cubicBezTo>
                  <a:cubicBezTo>
                    <a:pt x="935422" y="215900"/>
                    <a:pt x="931862" y="215186"/>
                    <a:pt x="932574" y="212331"/>
                  </a:cubicBezTo>
                  <a:cubicBezTo>
                    <a:pt x="946815" y="153803"/>
                    <a:pt x="946815" y="153803"/>
                    <a:pt x="946815" y="153803"/>
                  </a:cubicBezTo>
                  <a:cubicBezTo>
                    <a:pt x="948239" y="151662"/>
                    <a:pt x="948239" y="151662"/>
                    <a:pt x="948951" y="150234"/>
                  </a:cubicBezTo>
                  <a:cubicBezTo>
                    <a:pt x="1119129" y="33891"/>
                    <a:pt x="1119129" y="33891"/>
                    <a:pt x="1119129" y="33891"/>
                  </a:cubicBezTo>
                  <a:close/>
                  <a:moveTo>
                    <a:pt x="536139" y="0"/>
                  </a:moveTo>
                  <a:cubicBezTo>
                    <a:pt x="680539" y="0"/>
                    <a:pt x="812072" y="57074"/>
                    <a:pt x="908577" y="150533"/>
                  </a:cubicBezTo>
                  <a:cubicBezTo>
                    <a:pt x="908577" y="150533"/>
                    <a:pt x="908577" y="150533"/>
                    <a:pt x="889276" y="226156"/>
                  </a:cubicBezTo>
                  <a:cubicBezTo>
                    <a:pt x="889276" y="226156"/>
                    <a:pt x="889276" y="226156"/>
                    <a:pt x="870690" y="238997"/>
                  </a:cubicBezTo>
                  <a:cubicBezTo>
                    <a:pt x="788482" y="146252"/>
                    <a:pt x="668387" y="88465"/>
                    <a:pt x="536139" y="88465"/>
                  </a:cubicBezTo>
                  <a:cubicBezTo>
                    <a:pt x="288800" y="88465"/>
                    <a:pt x="88642" y="288937"/>
                    <a:pt x="88642" y="535782"/>
                  </a:cubicBezTo>
                  <a:cubicBezTo>
                    <a:pt x="88642" y="782626"/>
                    <a:pt x="288800" y="983099"/>
                    <a:pt x="536139" y="983099"/>
                  </a:cubicBezTo>
                  <a:cubicBezTo>
                    <a:pt x="782763" y="983099"/>
                    <a:pt x="983636" y="782626"/>
                    <a:pt x="983636" y="535782"/>
                  </a:cubicBezTo>
                  <a:cubicBezTo>
                    <a:pt x="983636" y="460872"/>
                    <a:pt x="965050" y="390957"/>
                    <a:pt x="932882" y="328889"/>
                  </a:cubicBezTo>
                  <a:cubicBezTo>
                    <a:pt x="932882" y="328889"/>
                    <a:pt x="932882" y="328889"/>
                    <a:pt x="951468" y="316047"/>
                  </a:cubicBezTo>
                  <a:cubicBezTo>
                    <a:pt x="951468" y="316047"/>
                    <a:pt x="951468" y="316047"/>
                    <a:pt x="1029387" y="325322"/>
                  </a:cubicBezTo>
                  <a:cubicBezTo>
                    <a:pt x="1056551" y="390243"/>
                    <a:pt x="1071563" y="460872"/>
                    <a:pt x="1071563" y="535782"/>
                  </a:cubicBezTo>
                  <a:cubicBezTo>
                    <a:pt x="1071563" y="831139"/>
                    <a:pt x="831373" y="1071563"/>
                    <a:pt x="536139" y="1071563"/>
                  </a:cubicBezTo>
                  <a:cubicBezTo>
                    <a:pt x="240190" y="1071563"/>
                    <a:pt x="0" y="831139"/>
                    <a:pt x="0" y="535782"/>
                  </a:cubicBezTo>
                  <a:cubicBezTo>
                    <a:pt x="0" y="240424"/>
                    <a:pt x="240190" y="0"/>
                    <a:pt x="53613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</p:grpSp>
      <p:sp>
        <p:nvSpPr>
          <p:cNvPr id="51" name="TextBox 50">
            <a:extLst>
              <a:ext uri="{FF2B5EF4-FFF2-40B4-BE49-F238E27FC236}">
                <a16:creationId xmlns:a16="http://schemas.microsoft.com/office/drawing/2014/main" id="{2B0428AF-4491-B889-27A4-8935ADF7861E}"/>
              </a:ext>
            </a:extLst>
          </p:cNvPr>
          <p:cNvSpPr txBox="1"/>
          <p:nvPr/>
        </p:nvSpPr>
        <p:spPr>
          <a:xfrm>
            <a:off x="3624894" y="2491742"/>
            <a:ext cx="2284231" cy="346387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1200"/>
              </a:spcAft>
            </a:pPr>
            <a:r>
              <a:rPr lang="en-US" sz="1400" dirty="0">
                <a:solidFill>
                  <a:srgbClr val="231F20"/>
                </a:solidFill>
                <a:latin typeface="+mj-lt"/>
              </a:rPr>
              <a:t>What is the program's </a:t>
            </a:r>
            <a:r>
              <a:rPr lang="en-US" sz="1400" b="1" dirty="0">
                <a:solidFill>
                  <a:schemeClr val="accent6"/>
                </a:solidFill>
                <a:latin typeface="+mj-lt"/>
              </a:rPr>
              <a:t>expected reach</a:t>
            </a:r>
            <a:r>
              <a:rPr lang="en-US" sz="1400" dirty="0">
                <a:solidFill>
                  <a:srgbClr val="231F20"/>
                </a:solidFill>
                <a:latin typeface="+mj-lt"/>
              </a:rPr>
              <a:t>? Will it help </a:t>
            </a:r>
            <a:r>
              <a:rPr lang="en-US" sz="1400" b="1" dirty="0">
                <a:solidFill>
                  <a:schemeClr val="accent6"/>
                </a:solidFill>
                <a:latin typeface="+mj-lt"/>
              </a:rPr>
              <a:t>reduce disparities</a:t>
            </a:r>
            <a:r>
              <a:rPr lang="en-US" sz="1400" dirty="0">
                <a:solidFill>
                  <a:srgbClr val="231F20"/>
                </a:solidFill>
                <a:latin typeface="+mj-lt"/>
              </a:rPr>
              <a:t>?</a:t>
            </a:r>
            <a:endParaRPr lang="en-US" sz="1400" dirty="0">
              <a:solidFill>
                <a:schemeClr val="tx1"/>
              </a:solidFill>
              <a:latin typeface="+mj-lt"/>
            </a:endParaRPr>
          </a:p>
          <a:p>
            <a:pPr>
              <a:spcAft>
                <a:spcPts val="1200"/>
              </a:spcAft>
            </a:pPr>
            <a:r>
              <a:rPr lang="en-US" sz="1400" i="0" dirty="0">
                <a:solidFill>
                  <a:srgbClr val="231F20"/>
                </a:solidFill>
                <a:effectLst/>
                <a:latin typeface="+mj-lt"/>
              </a:rPr>
              <a:t>Is this a </a:t>
            </a:r>
            <a:r>
              <a:rPr lang="en-US" sz="1400" b="1" i="0" dirty="0">
                <a:solidFill>
                  <a:schemeClr val="accent6"/>
                </a:solidFill>
                <a:effectLst/>
                <a:latin typeface="+mj-lt"/>
              </a:rPr>
              <a:t>proven model</a:t>
            </a:r>
            <a:r>
              <a:rPr lang="en-US" sz="1400" i="0" dirty="0">
                <a:solidFill>
                  <a:srgbClr val="231F20"/>
                </a:solidFill>
                <a:effectLst/>
                <a:latin typeface="+mj-lt"/>
              </a:rPr>
              <a:t>? What evidence tells us that this </a:t>
            </a:r>
            <a:r>
              <a:rPr lang="en-US" sz="1400" b="1" i="0" dirty="0">
                <a:solidFill>
                  <a:schemeClr val="accent6"/>
                </a:solidFill>
                <a:effectLst/>
                <a:latin typeface="+mj-lt"/>
              </a:rPr>
              <a:t>will have the desired impact</a:t>
            </a:r>
            <a:r>
              <a:rPr lang="en-US" sz="1400" i="0" dirty="0">
                <a:solidFill>
                  <a:srgbClr val="231F20"/>
                </a:solidFill>
                <a:effectLst/>
                <a:latin typeface="+mj-lt"/>
              </a:rPr>
              <a:t>?</a:t>
            </a:r>
            <a:endParaRPr lang="en-US" sz="1400" dirty="0">
              <a:solidFill>
                <a:srgbClr val="231F20"/>
              </a:solidFill>
              <a:latin typeface="+mj-lt"/>
            </a:endParaRPr>
          </a:p>
          <a:p>
            <a:pPr>
              <a:spcAft>
                <a:spcPts val="1200"/>
              </a:spcAft>
            </a:pPr>
            <a:r>
              <a:rPr lang="en-US" sz="1400" dirty="0">
                <a:solidFill>
                  <a:srgbClr val="231F20"/>
                </a:solidFill>
                <a:latin typeface="+mj-lt"/>
              </a:rPr>
              <a:t>What is the </a:t>
            </a:r>
            <a:r>
              <a:rPr lang="en-US" sz="1400" b="1" dirty="0">
                <a:solidFill>
                  <a:srgbClr val="779A44"/>
                </a:solidFill>
                <a:latin typeface="+mj-lt"/>
              </a:rPr>
              <a:t>expected</a:t>
            </a:r>
            <a:r>
              <a:rPr lang="en-US" sz="1400" dirty="0">
                <a:solidFill>
                  <a:srgbClr val="231F20"/>
                </a:solidFill>
                <a:latin typeface="+mj-lt"/>
              </a:rPr>
              <a:t> </a:t>
            </a:r>
            <a:r>
              <a:rPr lang="en-US" sz="1400" b="1" dirty="0">
                <a:solidFill>
                  <a:schemeClr val="accent6"/>
                </a:solidFill>
                <a:latin typeface="+mj-lt"/>
              </a:rPr>
              <a:t>cost to implement</a:t>
            </a:r>
            <a:r>
              <a:rPr lang="en-US" sz="1400" dirty="0">
                <a:solidFill>
                  <a:srgbClr val="231F20"/>
                </a:solidFill>
                <a:latin typeface="+mj-lt"/>
              </a:rPr>
              <a:t>?</a:t>
            </a:r>
          </a:p>
          <a:p>
            <a:pPr>
              <a:spcAft>
                <a:spcPts val="1200"/>
              </a:spcAft>
            </a:pPr>
            <a:r>
              <a:rPr lang="en-US" sz="1400" dirty="0">
                <a:solidFill>
                  <a:srgbClr val="231F20"/>
                </a:solidFill>
                <a:latin typeface="+mj-lt"/>
              </a:rPr>
              <a:t>What is the </a:t>
            </a:r>
            <a:r>
              <a:rPr lang="en-US" sz="1400" b="1" dirty="0">
                <a:solidFill>
                  <a:srgbClr val="779A44"/>
                </a:solidFill>
                <a:latin typeface="+mj-lt"/>
              </a:rPr>
              <a:t>expected benefit </a:t>
            </a:r>
            <a:r>
              <a:rPr lang="en-US" sz="1400" dirty="0">
                <a:solidFill>
                  <a:srgbClr val="231F20"/>
                </a:solidFill>
                <a:latin typeface="+mj-lt"/>
              </a:rPr>
              <a:t>per individual, </a:t>
            </a:r>
            <a:r>
              <a:rPr lang="en-US" sz="1400" b="1" dirty="0">
                <a:solidFill>
                  <a:schemeClr val="accent6"/>
                </a:solidFill>
                <a:latin typeface="+mj-lt"/>
              </a:rPr>
              <a:t>over what timeline</a:t>
            </a:r>
            <a:r>
              <a:rPr lang="en-US" sz="1400" dirty="0">
                <a:solidFill>
                  <a:srgbClr val="231F20"/>
                </a:solidFill>
                <a:latin typeface="+mj-lt"/>
              </a:rPr>
              <a:t>?</a:t>
            </a:r>
            <a:endParaRPr lang="en-US" sz="1400" dirty="0">
              <a:solidFill>
                <a:schemeClr val="tx1"/>
              </a:solidFill>
              <a:latin typeface="+mj-lt"/>
            </a:endParaRPr>
          </a:p>
          <a:p>
            <a:endParaRPr lang="en-US" sz="1400" dirty="0">
              <a:solidFill>
                <a:srgbClr val="231F20"/>
              </a:solidFill>
              <a:latin typeface="+mj-lt"/>
            </a:endParaRPr>
          </a:p>
        </p:txBody>
      </p:sp>
      <p:sp>
        <p:nvSpPr>
          <p:cNvPr id="6" name="Arrow: Chevron 5">
            <a:extLst>
              <a:ext uri="{FF2B5EF4-FFF2-40B4-BE49-F238E27FC236}">
                <a16:creationId xmlns:a16="http://schemas.microsoft.com/office/drawing/2014/main" id="{95C6680A-3061-ED7B-AB18-AC148B02A405}"/>
              </a:ext>
            </a:extLst>
          </p:cNvPr>
          <p:cNvSpPr/>
          <p:nvPr/>
        </p:nvSpPr>
        <p:spPr>
          <a:xfrm>
            <a:off x="6198791" y="1392147"/>
            <a:ext cx="2860035" cy="959843"/>
          </a:xfrm>
          <a:prstGeom prst="chevron">
            <a:avLst>
              <a:gd name="adj" fmla="val 35010"/>
            </a:avLst>
          </a:prstGeom>
          <a:solidFill>
            <a:schemeClr val="accent3">
              <a:lumMod val="7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>
                <a:solidFill>
                  <a:srgbClr val="FFFFFF"/>
                </a:solidFill>
              </a:rPr>
              <a:t>    Fit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A44E61A-372D-CE1E-F78B-4F5B56019A26}"/>
              </a:ext>
            </a:extLst>
          </p:cNvPr>
          <p:cNvSpPr/>
          <p:nvPr/>
        </p:nvSpPr>
        <p:spPr>
          <a:xfrm>
            <a:off x="6330533" y="2351991"/>
            <a:ext cx="2388515" cy="360362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0040" tIns="182880" rIns="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buClr>
                <a:srgbClr val="4A7DCB"/>
              </a:buClr>
            </a:pPr>
            <a:endParaRPr lang="en-US" b="1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54EA412-60F8-CE25-4AB9-8C5F35E20486}"/>
              </a:ext>
            </a:extLst>
          </p:cNvPr>
          <p:cNvSpPr txBox="1"/>
          <p:nvPr/>
        </p:nvSpPr>
        <p:spPr>
          <a:xfrm>
            <a:off x="6382963" y="2491742"/>
            <a:ext cx="2370424" cy="346387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1200"/>
              </a:spcAft>
            </a:pPr>
            <a:r>
              <a:rPr lang="en-US" sz="1400">
                <a:solidFill>
                  <a:srgbClr val="231F20"/>
                </a:solidFill>
                <a:latin typeface="+mj-lt"/>
              </a:rPr>
              <a:t>Does this </a:t>
            </a:r>
            <a:r>
              <a:rPr lang="en-US" sz="1400" b="1">
                <a:solidFill>
                  <a:schemeClr val="accent3">
                    <a:lumMod val="75000"/>
                  </a:schemeClr>
                </a:solidFill>
                <a:latin typeface="+mj-lt"/>
              </a:rPr>
              <a:t>advance our mission</a:t>
            </a:r>
            <a:r>
              <a:rPr lang="en-US" sz="1400">
                <a:solidFill>
                  <a:srgbClr val="231F20"/>
                </a:solidFill>
                <a:latin typeface="+mj-lt"/>
              </a:rPr>
              <a:t>, guiding principles, and strategic priorities?</a:t>
            </a:r>
          </a:p>
          <a:p>
            <a:pPr>
              <a:spcAft>
                <a:spcPts val="1200"/>
              </a:spcAft>
            </a:pPr>
            <a:r>
              <a:rPr lang="en-US" sz="1400">
                <a:solidFill>
                  <a:srgbClr val="231F20"/>
                </a:solidFill>
                <a:latin typeface="+mj-lt"/>
              </a:rPr>
              <a:t>Does this align with our </a:t>
            </a:r>
            <a:r>
              <a:rPr lang="en-US" sz="1400" b="1">
                <a:solidFill>
                  <a:schemeClr val="accent3">
                    <a:lumMod val="75000"/>
                  </a:schemeClr>
                </a:solidFill>
                <a:latin typeface="+mj-lt"/>
              </a:rPr>
              <a:t>existing capabilities</a:t>
            </a:r>
            <a:r>
              <a:rPr lang="en-US" sz="1400">
                <a:solidFill>
                  <a:srgbClr val="231F20"/>
                </a:solidFill>
                <a:latin typeface="+mj-lt"/>
              </a:rPr>
              <a:t>? </a:t>
            </a:r>
          </a:p>
          <a:p>
            <a:pPr>
              <a:spcAft>
                <a:spcPts val="1200"/>
              </a:spcAft>
            </a:pPr>
            <a:r>
              <a:rPr lang="en-US" sz="1400">
                <a:solidFill>
                  <a:srgbClr val="231F20"/>
                </a:solidFill>
                <a:latin typeface="+mj-lt"/>
              </a:rPr>
              <a:t>Is this a </a:t>
            </a:r>
            <a:r>
              <a:rPr lang="en-US" sz="1400" b="1">
                <a:solidFill>
                  <a:srgbClr val="C99501"/>
                </a:solidFill>
                <a:latin typeface="+mj-lt"/>
              </a:rPr>
              <a:t>role we are uniquely positioned to play</a:t>
            </a:r>
            <a:r>
              <a:rPr lang="en-US" sz="1400">
                <a:solidFill>
                  <a:srgbClr val="231F20"/>
                </a:solidFill>
                <a:latin typeface="+mj-lt"/>
              </a:rPr>
              <a:t>?</a:t>
            </a:r>
          </a:p>
          <a:p>
            <a:pPr>
              <a:spcAft>
                <a:spcPts val="1200"/>
              </a:spcAft>
            </a:pPr>
            <a:r>
              <a:rPr lang="en-US" sz="1400">
                <a:solidFill>
                  <a:srgbClr val="231F20"/>
                </a:solidFill>
                <a:latin typeface="+mj-lt"/>
              </a:rPr>
              <a:t>Is there an </a:t>
            </a:r>
            <a:r>
              <a:rPr lang="en-US" sz="1400" b="1">
                <a:solidFill>
                  <a:schemeClr val="accent3">
                    <a:lumMod val="75000"/>
                  </a:schemeClr>
                </a:solidFill>
                <a:latin typeface="+mj-lt"/>
              </a:rPr>
              <a:t>existing owner or champion</a:t>
            </a:r>
            <a:r>
              <a:rPr lang="en-US" sz="1400">
                <a:solidFill>
                  <a:srgbClr val="231F20"/>
                </a:solidFill>
                <a:latin typeface="+mj-lt"/>
              </a:rPr>
              <a:t>? How will our efforts </a:t>
            </a:r>
            <a:r>
              <a:rPr lang="en-US" sz="1400" b="1">
                <a:solidFill>
                  <a:schemeClr val="accent3">
                    <a:lumMod val="75000"/>
                  </a:schemeClr>
                </a:solidFill>
                <a:latin typeface="+mj-lt"/>
              </a:rPr>
              <a:t>complement or advance existing work</a:t>
            </a:r>
            <a:r>
              <a:rPr lang="en-US" sz="1400">
                <a:solidFill>
                  <a:srgbClr val="231F20"/>
                </a:solidFill>
                <a:latin typeface="+mj-lt"/>
              </a:rPr>
              <a:t>?</a:t>
            </a:r>
          </a:p>
        </p:txBody>
      </p:sp>
      <p:grpSp>
        <p:nvGrpSpPr>
          <p:cNvPr id="26" name="bcgBugsWhite_Broken Puzzle">
            <a:extLst>
              <a:ext uri="{FF2B5EF4-FFF2-40B4-BE49-F238E27FC236}">
                <a16:creationId xmlns:a16="http://schemas.microsoft.com/office/drawing/2014/main" id="{F2DAEC60-0D98-B5C5-7A36-76979ECD192A}"/>
              </a:ext>
            </a:extLst>
          </p:cNvPr>
          <p:cNvGrpSpPr>
            <a:grpSpLocks noChangeAspect="1"/>
          </p:cNvGrpSpPr>
          <p:nvPr/>
        </p:nvGrpSpPr>
        <p:grpSpPr>
          <a:xfrm>
            <a:off x="6720567" y="1388323"/>
            <a:ext cx="850865" cy="851698"/>
            <a:chOff x="1054473" y="2018273"/>
            <a:chExt cx="3771900" cy="3770312"/>
          </a:xfrm>
        </p:grpSpPr>
        <p:sp>
          <p:nvSpPr>
            <p:cNvPr id="27" name="AutoShape 10">
              <a:extLst>
                <a:ext uri="{FF2B5EF4-FFF2-40B4-BE49-F238E27FC236}">
                  <a16:creationId xmlns:a16="http://schemas.microsoft.com/office/drawing/2014/main" id="{5B7DE738-B3E5-59E5-0521-FC46B13AEF4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054473" y="2018273"/>
              <a:ext cx="3771900" cy="37703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12">
              <a:extLst>
                <a:ext uri="{FF2B5EF4-FFF2-40B4-BE49-F238E27FC236}">
                  <a16:creationId xmlns:a16="http://schemas.microsoft.com/office/drawing/2014/main" id="{28C4E11A-32A2-5887-CFF5-71AFC58CC9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73548" y="2286560"/>
              <a:ext cx="3338513" cy="3154362"/>
            </a:xfrm>
            <a:custGeom>
              <a:avLst/>
              <a:gdLst>
                <a:gd name="T0" fmla="*/ 612 w 884"/>
                <a:gd name="T1" fmla="*/ 564 h 836"/>
                <a:gd name="T2" fmla="*/ 469 w 884"/>
                <a:gd name="T3" fmla="*/ 595 h 836"/>
                <a:gd name="T4" fmla="*/ 467 w 884"/>
                <a:gd name="T5" fmla="*/ 589 h 836"/>
                <a:gd name="T6" fmla="*/ 471 w 884"/>
                <a:gd name="T7" fmla="*/ 514 h 836"/>
                <a:gd name="T8" fmla="*/ 361 w 884"/>
                <a:gd name="T9" fmla="*/ 638 h 836"/>
                <a:gd name="T10" fmla="*/ 328 w 884"/>
                <a:gd name="T11" fmla="*/ 674 h 836"/>
                <a:gd name="T12" fmla="*/ 316 w 884"/>
                <a:gd name="T13" fmla="*/ 671 h 836"/>
                <a:gd name="T14" fmla="*/ 266 w 884"/>
                <a:gd name="T15" fmla="*/ 743 h 836"/>
                <a:gd name="T16" fmla="*/ 329 w 884"/>
                <a:gd name="T17" fmla="*/ 731 h 836"/>
                <a:gd name="T18" fmla="*/ 355 w 884"/>
                <a:gd name="T19" fmla="*/ 836 h 836"/>
                <a:gd name="T20" fmla="*/ 665 w 884"/>
                <a:gd name="T21" fmla="*/ 522 h 836"/>
                <a:gd name="T22" fmla="*/ 613 w 884"/>
                <a:gd name="T23" fmla="*/ 504 h 836"/>
                <a:gd name="T24" fmla="*/ 54 w 884"/>
                <a:gd name="T25" fmla="*/ 444 h 836"/>
                <a:gd name="T26" fmla="*/ 197 w 884"/>
                <a:gd name="T27" fmla="*/ 415 h 836"/>
                <a:gd name="T28" fmla="*/ 203 w 884"/>
                <a:gd name="T29" fmla="*/ 444 h 836"/>
                <a:gd name="T30" fmla="*/ 203 w 884"/>
                <a:gd name="T31" fmla="*/ 505 h 836"/>
                <a:gd name="T32" fmla="*/ 304 w 884"/>
                <a:gd name="T33" fmla="*/ 370 h 836"/>
                <a:gd name="T34" fmla="*/ 337 w 884"/>
                <a:gd name="T35" fmla="*/ 335 h 836"/>
                <a:gd name="T36" fmla="*/ 349 w 884"/>
                <a:gd name="T37" fmla="*/ 337 h 836"/>
                <a:gd name="T38" fmla="*/ 400 w 884"/>
                <a:gd name="T39" fmla="*/ 265 h 836"/>
                <a:gd name="T40" fmla="*/ 337 w 884"/>
                <a:gd name="T41" fmla="*/ 277 h 836"/>
                <a:gd name="T42" fmla="*/ 310 w 884"/>
                <a:gd name="T43" fmla="*/ 173 h 836"/>
                <a:gd name="T44" fmla="*/ 0 w 884"/>
                <a:gd name="T45" fmla="*/ 486 h 836"/>
                <a:gd name="T46" fmla="*/ 53 w 884"/>
                <a:gd name="T47" fmla="*/ 505 h 836"/>
                <a:gd name="T48" fmla="*/ 660 w 884"/>
                <a:gd name="T49" fmla="*/ 2 h 836"/>
                <a:gd name="T50" fmla="*/ 660 w 884"/>
                <a:gd name="T51" fmla="*/ 82 h 836"/>
                <a:gd name="T52" fmla="*/ 531 w 884"/>
                <a:gd name="T53" fmla="*/ 153 h 836"/>
                <a:gd name="T54" fmla="*/ 535 w 884"/>
                <a:gd name="T55" fmla="*/ 294 h 836"/>
                <a:gd name="T56" fmla="*/ 528 w 884"/>
                <a:gd name="T57" fmla="*/ 361 h 836"/>
                <a:gd name="T58" fmla="*/ 485 w 884"/>
                <a:gd name="T59" fmla="*/ 396 h 836"/>
                <a:gd name="T60" fmla="*/ 483 w 884"/>
                <a:gd name="T61" fmla="*/ 400 h 836"/>
                <a:gd name="T62" fmla="*/ 575 w 884"/>
                <a:gd name="T63" fmla="*/ 410 h 836"/>
                <a:gd name="T64" fmla="*/ 643 w 884"/>
                <a:gd name="T65" fmla="*/ 403 h 836"/>
                <a:gd name="T66" fmla="*/ 878 w 884"/>
                <a:gd name="T67" fmla="*/ 217 h 836"/>
                <a:gd name="T68" fmla="*/ 192 w 884"/>
                <a:gd name="T69" fmla="*/ 702 h 836"/>
                <a:gd name="T70" fmla="*/ 327 w 884"/>
                <a:gd name="T71" fmla="*/ 618 h 836"/>
                <a:gd name="T72" fmla="*/ 204 w 884"/>
                <a:gd name="T73" fmla="*/ 538 h 836"/>
                <a:gd name="T74" fmla="*/ 162 w 884"/>
                <a:gd name="T75" fmla="*/ 486 h 836"/>
                <a:gd name="T76" fmla="*/ 168 w 884"/>
                <a:gd name="T77" fmla="*/ 430 h 836"/>
                <a:gd name="T78" fmla="*/ 165 w 884"/>
                <a:gd name="T79" fmla="*/ 426 h 836"/>
                <a:gd name="T80" fmla="*/ 93 w 884"/>
                <a:gd name="T81" fmla="*/ 484 h 836"/>
                <a:gd name="T82" fmla="*/ 51 w 884"/>
                <a:gd name="T83" fmla="*/ 538 h 836"/>
                <a:gd name="T84" fmla="*/ 18 w 884"/>
                <a:gd name="T85" fmla="*/ 836 h 836"/>
                <a:gd name="T86" fmla="*/ 326 w 884"/>
                <a:gd name="T87" fmla="*/ 786 h 8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84" h="836">
                  <a:moveTo>
                    <a:pt x="613" y="504"/>
                  </a:moveTo>
                  <a:cubicBezTo>
                    <a:pt x="607" y="504"/>
                    <a:pt x="602" y="509"/>
                    <a:pt x="604" y="515"/>
                  </a:cubicBezTo>
                  <a:cubicBezTo>
                    <a:pt x="607" y="529"/>
                    <a:pt x="612" y="553"/>
                    <a:pt x="612" y="564"/>
                  </a:cubicBezTo>
                  <a:cubicBezTo>
                    <a:pt x="612" y="605"/>
                    <a:pt x="578" y="638"/>
                    <a:pt x="538" y="638"/>
                  </a:cubicBezTo>
                  <a:cubicBezTo>
                    <a:pt x="508" y="638"/>
                    <a:pt x="482" y="621"/>
                    <a:pt x="469" y="596"/>
                  </a:cubicBezTo>
                  <a:cubicBezTo>
                    <a:pt x="469" y="595"/>
                    <a:pt x="469" y="595"/>
                    <a:pt x="469" y="595"/>
                  </a:cubicBezTo>
                  <a:cubicBezTo>
                    <a:pt x="469" y="595"/>
                    <a:pt x="469" y="594"/>
                    <a:pt x="469" y="593"/>
                  </a:cubicBezTo>
                  <a:cubicBezTo>
                    <a:pt x="468" y="592"/>
                    <a:pt x="468" y="592"/>
                    <a:pt x="468" y="591"/>
                  </a:cubicBezTo>
                  <a:cubicBezTo>
                    <a:pt x="467" y="590"/>
                    <a:pt x="467" y="590"/>
                    <a:pt x="467" y="589"/>
                  </a:cubicBezTo>
                  <a:cubicBezTo>
                    <a:pt x="464" y="582"/>
                    <a:pt x="463" y="573"/>
                    <a:pt x="463" y="564"/>
                  </a:cubicBezTo>
                  <a:cubicBezTo>
                    <a:pt x="463" y="559"/>
                    <a:pt x="463" y="559"/>
                    <a:pt x="463" y="559"/>
                  </a:cubicBezTo>
                  <a:cubicBezTo>
                    <a:pt x="463" y="549"/>
                    <a:pt x="468" y="528"/>
                    <a:pt x="471" y="514"/>
                  </a:cubicBezTo>
                  <a:cubicBezTo>
                    <a:pt x="472" y="508"/>
                    <a:pt x="468" y="503"/>
                    <a:pt x="462" y="503"/>
                  </a:cubicBezTo>
                  <a:cubicBezTo>
                    <a:pt x="425" y="505"/>
                    <a:pt x="352" y="523"/>
                    <a:pt x="352" y="523"/>
                  </a:cubicBezTo>
                  <a:cubicBezTo>
                    <a:pt x="358" y="561"/>
                    <a:pt x="359" y="591"/>
                    <a:pt x="361" y="638"/>
                  </a:cubicBezTo>
                  <a:cubicBezTo>
                    <a:pt x="361" y="647"/>
                    <a:pt x="358" y="655"/>
                    <a:pt x="352" y="662"/>
                  </a:cubicBezTo>
                  <a:cubicBezTo>
                    <a:pt x="346" y="669"/>
                    <a:pt x="338" y="673"/>
                    <a:pt x="329" y="674"/>
                  </a:cubicBezTo>
                  <a:cubicBezTo>
                    <a:pt x="329" y="674"/>
                    <a:pt x="329" y="674"/>
                    <a:pt x="328" y="674"/>
                  </a:cubicBezTo>
                  <a:cubicBezTo>
                    <a:pt x="325" y="674"/>
                    <a:pt x="322" y="673"/>
                    <a:pt x="320" y="672"/>
                  </a:cubicBezTo>
                  <a:cubicBezTo>
                    <a:pt x="319" y="672"/>
                    <a:pt x="318" y="672"/>
                    <a:pt x="318" y="672"/>
                  </a:cubicBezTo>
                  <a:cubicBezTo>
                    <a:pt x="318" y="672"/>
                    <a:pt x="318" y="672"/>
                    <a:pt x="316" y="671"/>
                  </a:cubicBezTo>
                  <a:cubicBezTo>
                    <a:pt x="300" y="665"/>
                    <a:pt x="280" y="661"/>
                    <a:pt x="266" y="661"/>
                  </a:cubicBezTo>
                  <a:cubicBezTo>
                    <a:pt x="243" y="661"/>
                    <a:pt x="225" y="679"/>
                    <a:pt x="225" y="702"/>
                  </a:cubicBezTo>
                  <a:cubicBezTo>
                    <a:pt x="225" y="725"/>
                    <a:pt x="244" y="743"/>
                    <a:pt x="266" y="743"/>
                  </a:cubicBezTo>
                  <a:cubicBezTo>
                    <a:pt x="279" y="743"/>
                    <a:pt x="298" y="739"/>
                    <a:pt x="316" y="733"/>
                  </a:cubicBezTo>
                  <a:cubicBezTo>
                    <a:pt x="321" y="731"/>
                    <a:pt x="325" y="731"/>
                    <a:pt x="328" y="731"/>
                  </a:cubicBezTo>
                  <a:cubicBezTo>
                    <a:pt x="328" y="731"/>
                    <a:pt x="328" y="731"/>
                    <a:pt x="329" y="731"/>
                  </a:cubicBezTo>
                  <a:cubicBezTo>
                    <a:pt x="338" y="732"/>
                    <a:pt x="346" y="735"/>
                    <a:pt x="352" y="742"/>
                  </a:cubicBezTo>
                  <a:cubicBezTo>
                    <a:pt x="358" y="749"/>
                    <a:pt x="361" y="757"/>
                    <a:pt x="361" y="766"/>
                  </a:cubicBezTo>
                  <a:cubicBezTo>
                    <a:pt x="359" y="793"/>
                    <a:pt x="358" y="815"/>
                    <a:pt x="355" y="836"/>
                  </a:cubicBezTo>
                  <a:cubicBezTo>
                    <a:pt x="355" y="836"/>
                    <a:pt x="355" y="836"/>
                    <a:pt x="648" y="836"/>
                  </a:cubicBezTo>
                  <a:cubicBezTo>
                    <a:pt x="657" y="836"/>
                    <a:pt x="665" y="828"/>
                    <a:pt x="665" y="819"/>
                  </a:cubicBezTo>
                  <a:cubicBezTo>
                    <a:pt x="665" y="762"/>
                    <a:pt x="665" y="577"/>
                    <a:pt x="665" y="522"/>
                  </a:cubicBezTo>
                  <a:cubicBezTo>
                    <a:pt x="665" y="511"/>
                    <a:pt x="665" y="521"/>
                    <a:pt x="665" y="507"/>
                  </a:cubicBezTo>
                  <a:cubicBezTo>
                    <a:pt x="663" y="507"/>
                    <a:pt x="663" y="507"/>
                    <a:pt x="663" y="507"/>
                  </a:cubicBezTo>
                  <a:cubicBezTo>
                    <a:pt x="647" y="505"/>
                    <a:pt x="631" y="505"/>
                    <a:pt x="613" y="504"/>
                  </a:cubicBezTo>
                  <a:close/>
                  <a:moveTo>
                    <a:pt x="53" y="505"/>
                  </a:moveTo>
                  <a:cubicBezTo>
                    <a:pt x="59" y="505"/>
                    <a:pt x="63" y="499"/>
                    <a:pt x="62" y="493"/>
                  </a:cubicBezTo>
                  <a:cubicBezTo>
                    <a:pt x="58" y="479"/>
                    <a:pt x="54" y="455"/>
                    <a:pt x="54" y="444"/>
                  </a:cubicBezTo>
                  <a:cubicBezTo>
                    <a:pt x="54" y="403"/>
                    <a:pt x="87" y="370"/>
                    <a:pt x="128" y="370"/>
                  </a:cubicBezTo>
                  <a:cubicBezTo>
                    <a:pt x="158" y="370"/>
                    <a:pt x="183" y="387"/>
                    <a:pt x="195" y="412"/>
                  </a:cubicBezTo>
                  <a:cubicBezTo>
                    <a:pt x="196" y="414"/>
                    <a:pt x="196" y="415"/>
                    <a:pt x="197" y="415"/>
                  </a:cubicBezTo>
                  <a:cubicBezTo>
                    <a:pt x="197" y="416"/>
                    <a:pt x="198" y="417"/>
                    <a:pt x="198" y="418"/>
                  </a:cubicBezTo>
                  <a:cubicBezTo>
                    <a:pt x="198" y="418"/>
                    <a:pt x="198" y="418"/>
                    <a:pt x="198" y="418"/>
                  </a:cubicBezTo>
                  <a:cubicBezTo>
                    <a:pt x="201" y="427"/>
                    <a:pt x="203" y="435"/>
                    <a:pt x="203" y="444"/>
                  </a:cubicBezTo>
                  <a:cubicBezTo>
                    <a:pt x="203" y="449"/>
                    <a:pt x="203" y="449"/>
                    <a:pt x="203" y="449"/>
                  </a:cubicBezTo>
                  <a:cubicBezTo>
                    <a:pt x="202" y="459"/>
                    <a:pt x="198" y="481"/>
                    <a:pt x="194" y="493"/>
                  </a:cubicBezTo>
                  <a:cubicBezTo>
                    <a:pt x="192" y="499"/>
                    <a:pt x="197" y="505"/>
                    <a:pt x="203" y="505"/>
                  </a:cubicBezTo>
                  <a:cubicBezTo>
                    <a:pt x="241" y="503"/>
                    <a:pt x="277" y="500"/>
                    <a:pt x="314" y="496"/>
                  </a:cubicBezTo>
                  <a:cubicBezTo>
                    <a:pt x="315" y="495"/>
                    <a:pt x="315" y="495"/>
                    <a:pt x="315" y="495"/>
                  </a:cubicBezTo>
                  <a:cubicBezTo>
                    <a:pt x="310" y="457"/>
                    <a:pt x="307" y="417"/>
                    <a:pt x="304" y="370"/>
                  </a:cubicBezTo>
                  <a:cubicBezTo>
                    <a:pt x="304" y="362"/>
                    <a:pt x="307" y="353"/>
                    <a:pt x="313" y="346"/>
                  </a:cubicBezTo>
                  <a:cubicBezTo>
                    <a:pt x="319" y="339"/>
                    <a:pt x="328" y="335"/>
                    <a:pt x="337" y="335"/>
                  </a:cubicBezTo>
                  <a:cubicBezTo>
                    <a:pt x="337" y="335"/>
                    <a:pt x="337" y="335"/>
                    <a:pt x="337" y="335"/>
                  </a:cubicBezTo>
                  <a:cubicBezTo>
                    <a:pt x="340" y="335"/>
                    <a:pt x="343" y="335"/>
                    <a:pt x="346" y="336"/>
                  </a:cubicBezTo>
                  <a:cubicBezTo>
                    <a:pt x="346" y="336"/>
                    <a:pt x="348" y="336"/>
                    <a:pt x="348" y="336"/>
                  </a:cubicBezTo>
                  <a:cubicBezTo>
                    <a:pt x="349" y="337"/>
                    <a:pt x="349" y="337"/>
                    <a:pt x="349" y="337"/>
                  </a:cubicBezTo>
                  <a:cubicBezTo>
                    <a:pt x="366" y="343"/>
                    <a:pt x="386" y="347"/>
                    <a:pt x="400" y="347"/>
                  </a:cubicBezTo>
                  <a:cubicBezTo>
                    <a:pt x="422" y="347"/>
                    <a:pt x="440" y="329"/>
                    <a:pt x="440" y="306"/>
                  </a:cubicBezTo>
                  <a:cubicBezTo>
                    <a:pt x="440" y="284"/>
                    <a:pt x="422" y="265"/>
                    <a:pt x="400" y="265"/>
                  </a:cubicBezTo>
                  <a:cubicBezTo>
                    <a:pt x="387" y="265"/>
                    <a:pt x="367" y="269"/>
                    <a:pt x="349" y="275"/>
                  </a:cubicBezTo>
                  <a:cubicBezTo>
                    <a:pt x="345" y="277"/>
                    <a:pt x="340" y="277"/>
                    <a:pt x="337" y="277"/>
                  </a:cubicBezTo>
                  <a:cubicBezTo>
                    <a:pt x="337" y="277"/>
                    <a:pt x="337" y="277"/>
                    <a:pt x="337" y="277"/>
                  </a:cubicBezTo>
                  <a:cubicBezTo>
                    <a:pt x="328" y="277"/>
                    <a:pt x="319" y="272"/>
                    <a:pt x="313" y="266"/>
                  </a:cubicBezTo>
                  <a:cubicBezTo>
                    <a:pt x="307" y="260"/>
                    <a:pt x="304" y="251"/>
                    <a:pt x="305" y="242"/>
                  </a:cubicBezTo>
                  <a:cubicBezTo>
                    <a:pt x="306" y="215"/>
                    <a:pt x="307" y="193"/>
                    <a:pt x="310" y="173"/>
                  </a:cubicBezTo>
                  <a:cubicBezTo>
                    <a:pt x="17" y="173"/>
                    <a:pt x="17" y="173"/>
                    <a:pt x="17" y="173"/>
                  </a:cubicBezTo>
                  <a:cubicBezTo>
                    <a:pt x="8" y="173"/>
                    <a:pt x="0" y="180"/>
                    <a:pt x="0" y="189"/>
                  </a:cubicBezTo>
                  <a:cubicBezTo>
                    <a:pt x="0" y="486"/>
                    <a:pt x="0" y="486"/>
                    <a:pt x="0" y="486"/>
                  </a:cubicBezTo>
                  <a:cubicBezTo>
                    <a:pt x="0" y="496"/>
                    <a:pt x="0" y="487"/>
                    <a:pt x="0" y="501"/>
                  </a:cubicBezTo>
                  <a:cubicBezTo>
                    <a:pt x="3" y="501"/>
                    <a:pt x="3" y="501"/>
                    <a:pt x="3" y="501"/>
                  </a:cubicBezTo>
                  <a:cubicBezTo>
                    <a:pt x="18" y="502"/>
                    <a:pt x="35" y="504"/>
                    <a:pt x="53" y="505"/>
                  </a:cubicBezTo>
                  <a:close/>
                  <a:moveTo>
                    <a:pt x="878" y="217"/>
                  </a:moveTo>
                  <a:cubicBezTo>
                    <a:pt x="878" y="217"/>
                    <a:pt x="878" y="217"/>
                    <a:pt x="661" y="0"/>
                  </a:cubicBezTo>
                  <a:cubicBezTo>
                    <a:pt x="661" y="0"/>
                    <a:pt x="661" y="0"/>
                    <a:pt x="660" y="2"/>
                  </a:cubicBezTo>
                  <a:cubicBezTo>
                    <a:pt x="651" y="9"/>
                    <a:pt x="636" y="22"/>
                    <a:pt x="624" y="32"/>
                  </a:cubicBezTo>
                  <a:cubicBezTo>
                    <a:pt x="617" y="40"/>
                    <a:pt x="617" y="53"/>
                    <a:pt x="627" y="58"/>
                  </a:cubicBezTo>
                  <a:cubicBezTo>
                    <a:pt x="639" y="66"/>
                    <a:pt x="654" y="76"/>
                    <a:pt x="660" y="82"/>
                  </a:cubicBezTo>
                  <a:cubicBezTo>
                    <a:pt x="689" y="111"/>
                    <a:pt x="688" y="158"/>
                    <a:pt x="660" y="187"/>
                  </a:cubicBezTo>
                  <a:cubicBezTo>
                    <a:pt x="630" y="216"/>
                    <a:pt x="585" y="216"/>
                    <a:pt x="555" y="187"/>
                  </a:cubicBezTo>
                  <a:cubicBezTo>
                    <a:pt x="548" y="180"/>
                    <a:pt x="539" y="165"/>
                    <a:pt x="531" y="153"/>
                  </a:cubicBezTo>
                  <a:cubicBezTo>
                    <a:pt x="525" y="144"/>
                    <a:pt x="512" y="143"/>
                    <a:pt x="505" y="151"/>
                  </a:cubicBezTo>
                  <a:cubicBezTo>
                    <a:pt x="483" y="176"/>
                    <a:pt x="458" y="204"/>
                    <a:pt x="441" y="227"/>
                  </a:cubicBezTo>
                  <a:cubicBezTo>
                    <a:pt x="441" y="227"/>
                    <a:pt x="507" y="268"/>
                    <a:pt x="535" y="294"/>
                  </a:cubicBezTo>
                  <a:cubicBezTo>
                    <a:pt x="535" y="294"/>
                    <a:pt x="536" y="295"/>
                    <a:pt x="536" y="295"/>
                  </a:cubicBezTo>
                  <a:cubicBezTo>
                    <a:pt x="549" y="307"/>
                    <a:pt x="552" y="326"/>
                    <a:pt x="544" y="343"/>
                  </a:cubicBezTo>
                  <a:cubicBezTo>
                    <a:pt x="541" y="351"/>
                    <a:pt x="535" y="357"/>
                    <a:pt x="528" y="361"/>
                  </a:cubicBezTo>
                  <a:cubicBezTo>
                    <a:pt x="509" y="373"/>
                    <a:pt x="499" y="379"/>
                    <a:pt x="496" y="383"/>
                  </a:cubicBezTo>
                  <a:cubicBezTo>
                    <a:pt x="495" y="384"/>
                    <a:pt x="494" y="384"/>
                    <a:pt x="494" y="385"/>
                  </a:cubicBezTo>
                  <a:cubicBezTo>
                    <a:pt x="490" y="388"/>
                    <a:pt x="487" y="392"/>
                    <a:pt x="485" y="396"/>
                  </a:cubicBezTo>
                  <a:cubicBezTo>
                    <a:pt x="485" y="396"/>
                    <a:pt x="485" y="396"/>
                    <a:pt x="484" y="398"/>
                  </a:cubicBezTo>
                  <a:cubicBezTo>
                    <a:pt x="484" y="400"/>
                    <a:pt x="484" y="400"/>
                    <a:pt x="484" y="400"/>
                  </a:cubicBezTo>
                  <a:cubicBezTo>
                    <a:pt x="484" y="400"/>
                    <a:pt x="484" y="400"/>
                    <a:pt x="483" y="400"/>
                  </a:cubicBezTo>
                  <a:cubicBezTo>
                    <a:pt x="479" y="415"/>
                    <a:pt x="482" y="432"/>
                    <a:pt x="494" y="444"/>
                  </a:cubicBezTo>
                  <a:cubicBezTo>
                    <a:pt x="510" y="460"/>
                    <a:pt x="536" y="460"/>
                    <a:pt x="552" y="444"/>
                  </a:cubicBezTo>
                  <a:cubicBezTo>
                    <a:pt x="555" y="442"/>
                    <a:pt x="562" y="432"/>
                    <a:pt x="575" y="410"/>
                  </a:cubicBezTo>
                  <a:cubicBezTo>
                    <a:pt x="582" y="400"/>
                    <a:pt x="592" y="392"/>
                    <a:pt x="604" y="390"/>
                  </a:cubicBezTo>
                  <a:cubicBezTo>
                    <a:pt x="618" y="387"/>
                    <a:pt x="632" y="392"/>
                    <a:pt x="642" y="401"/>
                  </a:cubicBezTo>
                  <a:cubicBezTo>
                    <a:pt x="642" y="402"/>
                    <a:pt x="643" y="402"/>
                    <a:pt x="643" y="403"/>
                  </a:cubicBezTo>
                  <a:cubicBezTo>
                    <a:pt x="655" y="416"/>
                    <a:pt x="666" y="428"/>
                    <a:pt x="677" y="441"/>
                  </a:cubicBezTo>
                  <a:cubicBezTo>
                    <a:pt x="677" y="441"/>
                    <a:pt x="677" y="441"/>
                    <a:pt x="878" y="240"/>
                  </a:cubicBezTo>
                  <a:cubicBezTo>
                    <a:pt x="884" y="234"/>
                    <a:pt x="884" y="223"/>
                    <a:pt x="878" y="217"/>
                  </a:cubicBezTo>
                  <a:close/>
                  <a:moveTo>
                    <a:pt x="306" y="769"/>
                  </a:moveTo>
                  <a:cubicBezTo>
                    <a:pt x="292" y="773"/>
                    <a:pt x="275" y="776"/>
                    <a:pt x="266" y="776"/>
                  </a:cubicBezTo>
                  <a:cubicBezTo>
                    <a:pt x="225" y="776"/>
                    <a:pt x="192" y="743"/>
                    <a:pt x="192" y="702"/>
                  </a:cubicBezTo>
                  <a:cubicBezTo>
                    <a:pt x="192" y="660"/>
                    <a:pt x="225" y="628"/>
                    <a:pt x="266" y="628"/>
                  </a:cubicBezTo>
                  <a:cubicBezTo>
                    <a:pt x="275" y="628"/>
                    <a:pt x="293" y="631"/>
                    <a:pt x="307" y="634"/>
                  </a:cubicBezTo>
                  <a:cubicBezTo>
                    <a:pt x="317" y="636"/>
                    <a:pt x="328" y="628"/>
                    <a:pt x="327" y="618"/>
                  </a:cubicBezTo>
                  <a:cubicBezTo>
                    <a:pt x="325" y="585"/>
                    <a:pt x="322" y="556"/>
                    <a:pt x="319" y="528"/>
                  </a:cubicBezTo>
                  <a:cubicBezTo>
                    <a:pt x="319" y="528"/>
                    <a:pt x="319" y="528"/>
                    <a:pt x="319" y="528"/>
                  </a:cubicBezTo>
                  <a:cubicBezTo>
                    <a:pt x="280" y="533"/>
                    <a:pt x="243" y="536"/>
                    <a:pt x="204" y="538"/>
                  </a:cubicBezTo>
                  <a:cubicBezTo>
                    <a:pt x="204" y="538"/>
                    <a:pt x="204" y="538"/>
                    <a:pt x="203" y="538"/>
                  </a:cubicBezTo>
                  <a:cubicBezTo>
                    <a:pt x="186" y="538"/>
                    <a:pt x="169" y="527"/>
                    <a:pt x="163" y="510"/>
                  </a:cubicBezTo>
                  <a:cubicBezTo>
                    <a:pt x="160" y="502"/>
                    <a:pt x="160" y="493"/>
                    <a:pt x="162" y="486"/>
                  </a:cubicBezTo>
                  <a:cubicBezTo>
                    <a:pt x="168" y="464"/>
                    <a:pt x="169" y="451"/>
                    <a:pt x="170" y="448"/>
                  </a:cubicBezTo>
                  <a:cubicBezTo>
                    <a:pt x="170" y="444"/>
                    <a:pt x="170" y="444"/>
                    <a:pt x="170" y="444"/>
                  </a:cubicBezTo>
                  <a:cubicBezTo>
                    <a:pt x="170" y="439"/>
                    <a:pt x="169" y="435"/>
                    <a:pt x="168" y="430"/>
                  </a:cubicBezTo>
                  <a:cubicBezTo>
                    <a:pt x="166" y="428"/>
                    <a:pt x="166" y="428"/>
                    <a:pt x="166" y="428"/>
                  </a:cubicBezTo>
                  <a:cubicBezTo>
                    <a:pt x="166" y="428"/>
                    <a:pt x="166" y="427"/>
                    <a:pt x="166" y="427"/>
                  </a:cubicBezTo>
                  <a:cubicBezTo>
                    <a:pt x="165" y="426"/>
                    <a:pt x="165" y="426"/>
                    <a:pt x="165" y="426"/>
                  </a:cubicBezTo>
                  <a:cubicBezTo>
                    <a:pt x="159" y="412"/>
                    <a:pt x="144" y="403"/>
                    <a:pt x="128" y="403"/>
                  </a:cubicBezTo>
                  <a:cubicBezTo>
                    <a:pt x="105" y="403"/>
                    <a:pt x="87" y="421"/>
                    <a:pt x="87" y="444"/>
                  </a:cubicBezTo>
                  <a:cubicBezTo>
                    <a:pt x="87" y="448"/>
                    <a:pt x="88" y="460"/>
                    <a:pt x="93" y="484"/>
                  </a:cubicBezTo>
                  <a:cubicBezTo>
                    <a:pt x="96" y="496"/>
                    <a:pt x="95" y="509"/>
                    <a:pt x="87" y="519"/>
                  </a:cubicBezTo>
                  <a:cubicBezTo>
                    <a:pt x="80" y="531"/>
                    <a:pt x="67" y="538"/>
                    <a:pt x="53" y="538"/>
                  </a:cubicBezTo>
                  <a:cubicBezTo>
                    <a:pt x="52" y="538"/>
                    <a:pt x="51" y="538"/>
                    <a:pt x="51" y="538"/>
                  </a:cubicBezTo>
                  <a:cubicBezTo>
                    <a:pt x="33" y="537"/>
                    <a:pt x="18" y="535"/>
                    <a:pt x="2" y="534"/>
                  </a:cubicBezTo>
                  <a:cubicBezTo>
                    <a:pt x="2" y="819"/>
                    <a:pt x="2" y="819"/>
                    <a:pt x="2" y="819"/>
                  </a:cubicBezTo>
                  <a:cubicBezTo>
                    <a:pt x="2" y="828"/>
                    <a:pt x="9" y="836"/>
                    <a:pt x="18" y="836"/>
                  </a:cubicBezTo>
                  <a:cubicBezTo>
                    <a:pt x="322" y="836"/>
                    <a:pt x="322" y="836"/>
                    <a:pt x="322" y="836"/>
                  </a:cubicBezTo>
                  <a:cubicBezTo>
                    <a:pt x="323" y="832"/>
                    <a:pt x="323" y="832"/>
                    <a:pt x="323" y="832"/>
                  </a:cubicBezTo>
                  <a:cubicBezTo>
                    <a:pt x="324" y="822"/>
                    <a:pt x="325" y="802"/>
                    <a:pt x="326" y="786"/>
                  </a:cubicBezTo>
                  <a:cubicBezTo>
                    <a:pt x="327" y="775"/>
                    <a:pt x="316" y="767"/>
                    <a:pt x="306" y="76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9" name="Arrow: Chevron 18">
            <a:extLst>
              <a:ext uri="{FF2B5EF4-FFF2-40B4-BE49-F238E27FC236}">
                <a16:creationId xmlns:a16="http://schemas.microsoft.com/office/drawing/2014/main" id="{C6716382-DEB1-994F-CAA1-40B1A3F7940A}"/>
              </a:ext>
            </a:extLst>
          </p:cNvPr>
          <p:cNvSpPr/>
          <p:nvPr/>
        </p:nvSpPr>
        <p:spPr>
          <a:xfrm>
            <a:off x="8915758" y="1392144"/>
            <a:ext cx="2860035" cy="959843"/>
          </a:xfrm>
          <a:prstGeom prst="chevron">
            <a:avLst>
              <a:gd name="adj" fmla="val 35010"/>
            </a:avLst>
          </a:prstGeom>
          <a:solidFill>
            <a:srgbClr val="DE7C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>
                <a:solidFill>
                  <a:srgbClr val="FFFFFF"/>
                </a:solidFill>
              </a:rPr>
              <a:t>        Feasibility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D734AAD-D0CC-95A9-FA01-648E00807DF6}"/>
              </a:ext>
            </a:extLst>
          </p:cNvPr>
          <p:cNvSpPr/>
          <p:nvPr/>
        </p:nvSpPr>
        <p:spPr>
          <a:xfrm>
            <a:off x="9032273" y="2351991"/>
            <a:ext cx="2388515" cy="3603627"/>
          </a:xfrm>
          <a:prstGeom prst="rect">
            <a:avLst/>
          </a:prstGeom>
          <a:solidFill>
            <a:srgbClr val="FCE5C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3751252-65B7-06C7-3A04-5B775FA019F7}"/>
              </a:ext>
            </a:extLst>
          </p:cNvPr>
          <p:cNvSpPr txBox="1"/>
          <p:nvPr/>
        </p:nvSpPr>
        <p:spPr>
          <a:xfrm>
            <a:off x="9066612" y="2491742"/>
            <a:ext cx="2354176" cy="346387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1200"/>
              </a:spcAft>
            </a:pPr>
            <a:r>
              <a:rPr lang="en-US" sz="1400" dirty="0">
                <a:solidFill>
                  <a:srgbClr val="231F20"/>
                </a:solidFill>
                <a:latin typeface="+mj-lt"/>
              </a:rPr>
              <a:t>What is the </a:t>
            </a:r>
            <a:r>
              <a:rPr lang="en-US" sz="1400" b="1" dirty="0">
                <a:solidFill>
                  <a:srgbClr val="DE7C00"/>
                </a:solidFill>
                <a:latin typeface="+mj-lt"/>
              </a:rPr>
              <a:t>definition of success</a:t>
            </a:r>
            <a:r>
              <a:rPr lang="en-US" sz="1400" dirty="0">
                <a:solidFill>
                  <a:srgbClr val="231F20"/>
                </a:solidFill>
                <a:latin typeface="+mj-lt"/>
              </a:rPr>
              <a:t>? Are there metrics to track progress?</a:t>
            </a:r>
          </a:p>
          <a:p>
            <a:pPr>
              <a:spcAft>
                <a:spcPts val="1200"/>
              </a:spcAft>
            </a:pPr>
            <a:r>
              <a:rPr lang="en-US" sz="1400" dirty="0">
                <a:solidFill>
                  <a:srgbClr val="231F20"/>
                </a:solidFill>
                <a:latin typeface="+mj-lt"/>
              </a:rPr>
              <a:t>What is the </a:t>
            </a:r>
            <a:r>
              <a:rPr lang="en-US" sz="1400" b="1" dirty="0">
                <a:solidFill>
                  <a:srgbClr val="DE7C00"/>
                </a:solidFill>
                <a:latin typeface="+mj-lt"/>
              </a:rPr>
              <a:t>level of effort </a:t>
            </a:r>
            <a:r>
              <a:rPr lang="en-US" sz="1400" dirty="0">
                <a:solidFill>
                  <a:srgbClr val="231F20"/>
                </a:solidFill>
                <a:latin typeface="+mj-lt"/>
              </a:rPr>
              <a:t>required to deliver? Do we have </a:t>
            </a:r>
            <a:r>
              <a:rPr lang="en-US" sz="1400" b="1" dirty="0">
                <a:solidFill>
                  <a:srgbClr val="DE7C00"/>
                </a:solidFill>
                <a:latin typeface="+mj-lt"/>
              </a:rPr>
              <a:t>available</a:t>
            </a:r>
            <a:r>
              <a:rPr lang="en-US" sz="1400" dirty="0">
                <a:solidFill>
                  <a:srgbClr val="231F20"/>
                </a:solidFill>
                <a:latin typeface="+mj-lt"/>
              </a:rPr>
              <a:t> resources?</a:t>
            </a:r>
          </a:p>
          <a:p>
            <a:pPr>
              <a:spcAft>
                <a:spcPts val="1200"/>
              </a:spcAft>
            </a:pPr>
            <a:r>
              <a:rPr lang="en-US" sz="1400" dirty="0">
                <a:solidFill>
                  <a:srgbClr val="231F20"/>
                </a:solidFill>
                <a:latin typeface="+mj-lt"/>
              </a:rPr>
              <a:t>What is the </a:t>
            </a:r>
            <a:r>
              <a:rPr lang="en-US" sz="1400" b="1" dirty="0">
                <a:solidFill>
                  <a:srgbClr val="DE7C00"/>
                </a:solidFill>
                <a:latin typeface="+mj-lt"/>
              </a:rPr>
              <a:t>plan to sustain the initiative </a:t>
            </a:r>
            <a:r>
              <a:rPr lang="en-US" sz="1400" dirty="0">
                <a:solidFill>
                  <a:srgbClr val="231F20"/>
                </a:solidFill>
                <a:latin typeface="+mj-lt"/>
              </a:rPr>
              <a:t>after support ends?</a:t>
            </a:r>
          </a:p>
          <a:p>
            <a:pPr algn="l">
              <a:spcAft>
                <a:spcPts val="1200"/>
              </a:spcAft>
            </a:pPr>
            <a:r>
              <a:rPr lang="en-US" sz="1400" b="0" dirty="0">
                <a:solidFill>
                  <a:srgbClr val="231F20"/>
                </a:solidFill>
                <a:effectLst/>
                <a:latin typeface="+mj-lt"/>
              </a:rPr>
              <a:t>What </a:t>
            </a:r>
            <a:r>
              <a:rPr lang="en-US" sz="1400" b="1" dirty="0">
                <a:solidFill>
                  <a:srgbClr val="DE7C00"/>
                </a:solidFill>
                <a:effectLst/>
                <a:latin typeface="+mj-lt"/>
              </a:rPr>
              <a:t>trade-offs are we willing to make</a:t>
            </a:r>
            <a:r>
              <a:rPr lang="en-US" sz="1400" b="0" dirty="0">
                <a:solidFill>
                  <a:srgbClr val="231F20"/>
                </a:solidFill>
                <a:effectLst/>
                <a:latin typeface="+mj-lt"/>
              </a:rPr>
              <a:t> to invest in this effort</a:t>
            </a:r>
            <a:r>
              <a:rPr lang="en-US" sz="1400" dirty="0">
                <a:solidFill>
                  <a:srgbClr val="231F20"/>
                </a:solidFill>
                <a:latin typeface="+mj-lt"/>
              </a:rPr>
              <a:t>?</a:t>
            </a:r>
          </a:p>
        </p:txBody>
      </p:sp>
      <p:grpSp>
        <p:nvGrpSpPr>
          <p:cNvPr id="33" name="bcgBugsWhite_Inventory ">
            <a:extLst>
              <a:ext uri="{FF2B5EF4-FFF2-40B4-BE49-F238E27FC236}">
                <a16:creationId xmlns:a16="http://schemas.microsoft.com/office/drawing/2014/main" id="{87B359A7-08E7-D6A6-74E7-02690430A9C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286772" y="1493161"/>
            <a:ext cx="707571" cy="707571"/>
            <a:chOff x="1704" y="1116"/>
            <a:chExt cx="288" cy="288"/>
          </a:xfrm>
        </p:grpSpPr>
        <p:sp>
          <p:nvSpPr>
            <p:cNvPr id="34" name="AutoShape 17">
              <a:extLst>
                <a:ext uri="{FF2B5EF4-FFF2-40B4-BE49-F238E27FC236}">
                  <a16:creationId xmlns:a16="http://schemas.microsoft.com/office/drawing/2014/main" id="{677324C3-BF56-2C23-52A1-AF91586C194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704" y="1116"/>
              <a:ext cx="288" cy="2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19">
              <a:extLst>
                <a:ext uri="{FF2B5EF4-FFF2-40B4-BE49-F238E27FC236}">
                  <a16:creationId xmlns:a16="http://schemas.microsoft.com/office/drawing/2014/main" id="{0B100657-A619-BBCF-DC81-A7F2C136B4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56" y="1137"/>
              <a:ext cx="184" cy="246"/>
            </a:xfrm>
            <a:custGeom>
              <a:avLst/>
              <a:gdLst>
                <a:gd name="T0" fmla="*/ 416 w 640"/>
                <a:gd name="T1" fmla="*/ 145 h 854"/>
                <a:gd name="T2" fmla="*/ 428 w 640"/>
                <a:gd name="T3" fmla="*/ 109 h 854"/>
                <a:gd name="T4" fmla="*/ 428 w 640"/>
                <a:gd name="T5" fmla="*/ 55 h 854"/>
                <a:gd name="T6" fmla="*/ 386 w 640"/>
                <a:gd name="T7" fmla="*/ 50 h 854"/>
                <a:gd name="T8" fmla="*/ 320 w 640"/>
                <a:gd name="T9" fmla="*/ 0 h 854"/>
                <a:gd name="T10" fmla="*/ 253 w 640"/>
                <a:gd name="T11" fmla="*/ 50 h 854"/>
                <a:gd name="T12" fmla="*/ 211 w 640"/>
                <a:gd name="T13" fmla="*/ 55 h 854"/>
                <a:gd name="T14" fmla="*/ 211 w 640"/>
                <a:gd name="T15" fmla="*/ 109 h 854"/>
                <a:gd name="T16" fmla="*/ 223 w 640"/>
                <a:gd name="T17" fmla="*/ 145 h 854"/>
                <a:gd name="T18" fmla="*/ 320 w 640"/>
                <a:gd name="T19" fmla="*/ 24 h 854"/>
                <a:gd name="T20" fmla="*/ 362 w 640"/>
                <a:gd name="T21" fmla="*/ 50 h 854"/>
                <a:gd name="T22" fmla="*/ 303 w 640"/>
                <a:gd name="T23" fmla="*/ 27 h 854"/>
                <a:gd name="T24" fmla="*/ 472 w 640"/>
                <a:gd name="T25" fmla="*/ 92 h 854"/>
                <a:gd name="T26" fmla="*/ 416 w 640"/>
                <a:gd name="T27" fmla="*/ 189 h 854"/>
                <a:gd name="T28" fmla="*/ 167 w 640"/>
                <a:gd name="T29" fmla="*/ 133 h 854"/>
                <a:gd name="T30" fmla="*/ 22 w 640"/>
                <a:gd name="T31" fmla="*/ 92 h 854"/>
                <a:gd name="T32" fmla="*/ 0 w 640"/>
                <a:gd name="T33" fmla="*/ 832 h 854"/>
                <a:gd name="T34" fmla="*/ 618 w 640"/>
                <a:gd name="T35" fmla="*/ 854 h 854"/>
                <a:gd name="T36" fmla="*/ 640 w 640"/>
                <a:gd name="T37" fmla="*/ 114 h 854"/>
                <a:gd name="T38" fmla="*/ 104 w 640"/>
                <a:gd name="T39" fmla="*/ 305 h 854"/>
                <a:gd name="T40" fmla="*/ 213 w 640"/>
                <a:gd name="T41" fmla="*/ 289 h 854"/>
                <a:gd name="T42" fmla="*/ 135 w 640"/>
                <a:gd name="T43" fmla="*/ 321 h 854"/>
                <a:gd name="T44" fmla="*/ 227 w 640"/>
                <a:gd name="T45" fmla="*/ 412 h 854"/>
                <a:gd name="T46" fmla="*/ 259 w 640"/>
                <a:gd name="T47" fmla="*/ 376 h 854"/>
                <a:gd name="T48" fmla="*/ 243 w 640"/>
                <a:gd name="T49" fmla="*/ 444 h 854"/>
                <a:gd name="T50" fmla="*/ 104 w 640"/>
                <a:gd name="T51" fmla="*/ 428 h 854"/>
                <a:gd name="T52" fmla="*/ 259 w 640"/>
                <a:gd name="T53" fmla="*/ 694 h 854"/>
                <a:gd name="T54" fmla="*/ 120 w 640"/>
                <a:gd name="T55" fmla="*/ 710 h 854"/>
                <a:gd name="T56" fmla="*/ 104 w 640"/>
                <a:gd name="T57" fmla="*/ 571 h 854"/>
                <a:gd name="T58" fmla="*/ 213 w 640"/>
                <a:gd name="T59" fmla="*/ 555 h 854"/>
                <a:gd name="T60" fmla="*/ 135 w 640"/>
                <a:gd name="T61" fmla="*/ 587 h 854"/>
                <a:gd name="T62" fmla="*/ 227 w 640"/>
                <a:gd name="T63" fmla="*/ 678 h 854"/>
                <a:gd name="T64" fmla="*/ 259 w 640"/>
                <a:gd name="T65" fmla="*/ 642 h 854"/>
                <a:gd name="T66" fmla="*/ 291 w 640"/>
                <a:gd name="T67" fmla="*/ 567 h 854"/>
                <a:gd name="T68" fmla="*/ 228 w 640"/>
                <a:gd name="T69" fmla="*/ 630 h 854"/>
                <a:gd name="T70" fmla="*/ 192 w 640"/>
                <a:gd name="T71" fmla="*/ 659 h 854"/>
                <a:gd name="T72" fmla="*/ 153 w 640"/>
                <a:gd name="T73" fmla="*/ 627 h 854"/>
                <a:gd name="T74" fmla="*/ 175 w 640"/>
                <a:gd name="T75" fmla="*/ 604 h 854"/>
                <a:gd name="T76" fmla="*/ 226 w 640"/>
                <a:gd name="T77" fmla="*/ 586 h 854"/>
                <a:gd name="T78" fmla="*/ 268 w 640"/>
                <a:gd name="T79" fmla="*/ 544 h 854"/>
                <a:gd name="T80" fmla="*/ 291 w 640"/>
                <a:gd name="T81" fmla="*/ 567 h 854"/>
                <a:gd name="T82" fmla="*/ 260 w 640"/>
                <a:gd name="T83" fmla="*/ 332 h 854"/>
                <a:gd name="T84" fmla="*/ 203 w 640"/>
                <a:gd name="T85" fmla="*/ 388 h 854"/>
                <a:gd name="T86" fmla="*/ 181 w 640"/>
                <a:gd name="T87" fmla="*/ 388 h 854"/>
                <a:gd name="T88" fmla="*/ 153 w 640"/>
                <a:gd name="T89" fmla="*/ 338 h 854"/>
                <a:gd name="T90" fmla="*/ 192 w 640"/>
                <a:gd name="T91" fmla="*/ 354 h 854"/>
                <a:gd name="T92" fmla="*/ 255 w 640"/>
                <a:gd name="T93" fmla="*/ 293 h 854"/>
                <a:gd name="T94" fmla="*/ 291 w 640"/>
                <a:gd name="T95" fmla="*/ 278 h 854"/>
                <a:gd name="T96" fmla="*/ 530 w 640"/>
                <a:gd name="T97" fmla="*/ 710 h 854"/>
                <a:gd name="T98" fmla="*/ 317 w 640"/>
                <a:gd name="T99" fmla="*/ 688 h 854"/>
                <a:gd name="T100" fmla="*/ 530 w 640"/>
                <a:gd name="T101" fmla="*/ 666 h 854"/>
                <a:gd name="T102" fmla="*/ 530 w 640"/>
                <a:gd name="T103" fmla="*/ 710 h 854"/>
                <a:gd name="T104" fmla="*/ 339 w 640"/>
                <a:gd name="T105" fmla="*/ 609 h 854"/>
                <a:gd name="T106" fmla="*/ 339 w 640"/>
                <a:gd name="T107" fmla="*/ 565 h 854"/>
                <a:gd name="T108" fmla="*/ 552 w 640"/>
                <a:gd name="T109" fmla="*/ 587 h 854"/>
                <a:gd name="T110" fmla="*/ 530 w 640"/>
                <a:gd name="T111" fmla="*/ 444 h 854"/>
                <a:gd name="T112" fmla="*/ 317 w 640"/>
                <a:gd name="T113" fmla="*/ 422 h 854"/>
                <a:gd name="T114" fmla="*/ 530 w 640"/>
                <a:gd name="T115" fmla="*/ 400 h 854"/>
                <a:gd name="T116" fmla="*/ 530 w 640"/>
                <a:gd name="T117" fmla="*/ 444 h 854"/>
                <a:gd name="T118" fmla="*/ 339 w 640"/>
                <a:gd name="T119" fmla="*/ 343 h 854"/>
                <a:gd name="T120" fmla="*/ 339 w 640"/>
                <a:gd name="T121" fmla="*/ 299 h 854"/>
                <a:gd name="T122" fmla="*/ 552 w 640"/>
                <a:gd name="T123" fmla="*/ 321 h 8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40" h="854">
                  <a:moveTo>
                    <a:pt x="223" y="145"/>
                  </a:moveTo>
                  <a:cubicBezTo>
                    <a:pt x="416" y="145"/>
                    <a:pt x="416" y="145"/>
                    <a:pt x="416" y="145"/>
                  </a:cubicBezTo>
                  <a:cubicBezTo>
                    <a:pt x="422" y="145"/>
                    <a:pt x="428" y="139"/>
                    <a:pt x="428" y="133"/>
                  </a:cubicBezTo>
                  <a:cubicBezTo>
                    <a:pt x="428" y="109"/>
                    <a:pt x="428" y="109"/>
                    <a:pt x="428" y="109"/>
                  </a:cubicBezTo>
                  <a:cubicBezTo>
                    <a:pt x="428" y="85"/>
                    <a:pt x="428" y="85"/>
                    <a:pt x="428" y="85"/>
                  </a:cubicBezTo>
                  <a:cubicBezTo>
                    <a:pt x="428" y="55"/>
                    <a:pt x="428" y="55"/>
                    <a:pt x="428" y="55"/>
                  </a:cubicBezTo>
                  <a:cubicBezTo>
                    <a:pt x="428" y="52"/>
                    <a:pt x="425" y="50"/>
                    <a:pt x="422" y="50"/>
                  </a:cubicBezTo>
                  <a:cubicBezTo>
                    <a:pt x="386" y="50"/>
                    <a:pt x="386" y="50"/>
                    <a:pt x="386" y="50"/>
                  </a:cubicBezTo>
                  <a:cubicBezTo>
                    <a:pt x="383" y="41"/>
                    <a:pt x="379" y="33"/>
                    <a:pt x="374" y="26"/>
                  </a:cubicBezTo>
                  <a:cubicBezTo>
                    <a:pt x="361" y="11"/>
                    <a:pt x="341" y="0"/>
                    <a:pt x="320" y="0"/>
                  </a:cubicBezTo>
                  <a:cubicBezTo>
                    <a:pt x="298" y="0"/>
                    <a:pt x="278" y="11"/>
                    <a:pt x="266" y="26"/>
                  </a:cubicBezTo>
                  <a:cubicBezTo>
                    <a:pt x="260" y="33"/>
                    <a:pt x="256" y="41"/>
                    <a:pt x="253" y="50"/>
                  </a:cubicBezTo>
                  <a:cubicBezTo>
                    <a:pt x="217" y="50"/>
                    <a:pt x="217" y="50"/>
                    <a:pt x="217" y="50"/>
                  </a:cubicBezTo>
                  <a:cubicBezTo>
                    <a:pt x="214" y="50"/>
                    <a:pt x="211" y="52"/>
                    <a:pt x="211" y="55"/>
                  </a:cubicBezTo>
                  <a:cubicBezTo>
                    <a:pt x="211" y="85"/>
                    <a:pt x="211" y="85"/>
                    <a:pt x="211" y="85"/>
                  </a:cubicBezTo>
                  <a:cubicBezTo>
                    <a:pt x="211" y="109"/>
                    <a:pt x="211" y="109"/>
                    <a:pt x="211" y="109"/>
                  </a:cubicBezTo>
                  <a:cubicBezTo>
                    <a:pt x="211" y="133"/>
                    <a:pt x="211" y="133"/>
                    <a:pt x="211" y="133"/>
                  </a:cubicBezTo>
                  <a:cubicBezTo>
                    <a:pt x="211" y="139"/>
                    <a:pt x="217" y="145"/>
                    <a:pt x="223" y="145"/>
                  </a:cubicBezTo>
                  <a:close/>
                  <a:moveTo>
                    <a:pt x="303" y="27"/>
                  </a:moveTo>
                  <a:cubicBezTo>
                    <a:pt x="308" y="25"/>
                    <a:pt x="314" y="24"/>
                    <a:pt x="320" y="24"/>
                  </a:cubicBezTo>
                  <a:cubicBezTo>
                    <a:pt x="325" y="24"/>
                    <a:pt x="331" y="25"/>
                    <a:pt x="336" y="27"/>
                  </a:cubicBezTo>
                  <a:cubicBezTo>
                    <a:pt x="347" y="31"/>
                    <a:pt x="356" y="39"/>
                    <a:pt x="362" y="50"/>
                  </a:cubicBezTo>
                  <a:cubicBezTo>
                    <a:pt x="278" y="50"/>
                    <a:pt x="278" y="50"/>
                    <a:pt x="278" y="50"/>
                  </a:cubicBezTo>
                  <a:cubicBezTo>
                    <a:pt x="283" y="39"/>
                    <a:pt x="292" y="31"/>
                    <a:pt x="303" y="27"/>
                  </a:cubicBezTo>
                  <a:close/>
                  <a:moveTo>
                    <a:pt x="618" y="92"/>
                  </a:moveTo>
                  <a:cubicBezTo>
                    <a:pt x="472" y="92"/>
                    <a:pt x="472" y="92"/>
                    <a:pt x="472" y="92"/>
                  </a:cubicBezTo>
                  <a:cubicBezTo>
                    <a:pt x="472" y="133"/>
                    <a:pt x="472" y="133"/>
                    <a:pt x="472" y="133"/>
                  </a:cubicBezTo>
                  <a:cubicBezTo>
                    <a:pt x="472" y="164"/>
                    <a:pt x="447" y="189"/>
                    <a:pt x="416" y="189"/>
                  </a:cubicBezTo>
                  <a:cubicBezTo>
                    <a:pt x="223" y="189"/>
                    <a:pt x="223" y="189"/>
                    <a:pt x="223" y="189"/>
                  </a:cubicBezTo>
                  <a:cubicBezTo>
                    <a:pt x="192" y="189"/>
                    <a:pt x="167" y="164"/>
                    <a:pt x="167" y="133"/>
                  </a:cubicBezTo>
                  <a:cubicBezTo>
                    <a:pt x="167" y="92"/>
                    <a:pt x="167" y="92"/>
                    <a:pt x="167" y="92"/>
                  </a:cubicBezTo>
                  <a:cubicBezTo>
                    <a:pt x="22" y="92"/>
                    <a:pt x="22" y="92"/>
                    <a:pt x="22" y="92"/>
                  </a:cubicBezTo>
                  <a:cubicBezTo>
                    <a:pt x="9" y="92"/>
                    <a:pt x="0" y="102"/>
                    <a:pt x="0" y="114"/>
                  </a:cubicBezTo>
                  <a:cubicBezTo>
                    <a:pt x="0" y="832"/>
                    <a:pt x="0" y="832"/>
                    <a:pt x="0" y="832"/>
                  </a:cubicBezTo>
                  <a:cubicBezTo>
                    <a:pt x="0" y="844"/>
                    <a:pt x="9" y="854"/>
                    <a:pt x="22" y="854"/>
                  </a:cubicBezTo>
                  <a:cubicBezTo>
                    <a:pt x="618" y="854"/>
                    <a:pt x="618" y="854"/>
                    <a:pt x="618" y="854"/>
                  </a:cubicBezTo>
                  <a:cubicBezTo>
                    <a:pt x="630" y="854"/>
                    <a:pt x="640" y="844"/>
                    <a:pt x="640" y="832"/>
                  </a:cubicBezTo>
                  <a:cubicBezTo>
                    <a:pt x="640" y="114"/>
                    <a:pt x="640" y="114"/>
                    <a:pt x="640" y="114"/>
                  </a:cubicBezTo>
                  <a:cubicBezTo>
                    <a:pt x="640" y="102"/>
                    <a:pt x="630" y="92"/>
                    <a:pt x="618" y="92"/>
                  </a:cubicBezTo>
                  <a:close/>
                  <a:moveTo>
                    <a:pt x="104" y="305"/>
                  </a:moveTo>
                  <a:cubicBezTo>
                    <a:pt x="104" y="296"/>
                    <a:pt x="111" y="289"/>
                    <a:pt x="120" y="289"/>
                  </a:cubicBezTo>
                  <a:cubicBezTo>
                    <a:pt x="120" y="289"/>
                    <a:pt x="120" y="289"/>
                    <a:pt x="213" y="289"/>
                  </a:cubicBezTo>
                  <a:cubicBezTo>
                    <a:pt x="213" y="289"/>
                    <a:pt x="213" y="289"/>
                    <a:pt x="181" y="321"/>
                  </a:cubicBezTo>
                  <a:cubicBezTo>
                    <a:pt x="135" y="321"/>
                    <a:pt x="135" y="321"/>
                    <a:pt x="135" y="321"/>
                  </a:cubicBezTo>
                  <a:cubicBezTo>
                    <a:pt x="135" y="321"/>
                    <a:pt x="135" y="321"/>
                    <a:pt x="135" y="412"/>
                  </a:cubicBezTo>
                  <a:cubicBezTo>
                    <a:pt x="135" y="412"/>
                    <a:pt x="135" y="412"/>
                    <a:pt x="227" y="412"/>
                  </a:cubicBezTo>
                  <a:cubicBezTo>
                    <a:pt x="227" y="412"/>
                    <a:pt x="227" y="412"/>
                    <a:pt x="227" y="408"/>
                  </a:cubicBezTo>
                  <a:cubicBezTo>
                    <a:pt x="227" y="408"/>
                    <a:pt x="227" y="408"/>
                    <a:pt x="259" y="376"/>
                  </a:cubicBezTo>
                  <a:cubicBezTo>
                    <a:pt x="259" y="376"/>
                    <a:pt x="259" y="376"/>
                    <a:pt x="259" y="428"/>
                  </a:cubicBezTo>
                  <a:cubicBezTo>
                    <a:pt x="259" y="437"/>
                    <a:pt x="252" y="444"/>
                    <a:pt x="243" y="444"/>
                  </a:cubicBezTo>
                  <a:cubicBezTo>
                    <a:pt x="243" y="444"/>
                    <a:pt x="243" y="444"/>
                    <a:pt x="120" y="444"/>
                  </a:cubicBezTo>
                  <a:cubicBezTo>
                    <a:pt x="111" y="444"/>
                    <a:pt x="104" y="437"/>
                    <a:pt x="104" y="428"/>
                  </a:cubicBezTo>
                  <a:cubicBezTo>
                    <a:pt x="104" y="428"/>
                    <a:pt x="104" y="428"/>
                    <a:pt x="104" y="305"/>
                  </a:cubicBezTo>
                  <a:close/>
                  <a:moveTo>
                    <a:pt x="259" y="694"/>
                  </a:moveTo>
                  <a:cubicBezTo>
                    <a:pt x="259" y="703"/>
                    <a:pt x="252" y="710"/>
                    <a:pt x="243" y="710"/>
                  </a:cubicBezTo>
                  <a:cubicBezTo>
                    <a:pt x="243" y="710"/>
                    <a:pt x="243" y="710"/>
                    <a:pt x="120" y="710"/>
                  </a:cubicBezTo>
                  <a:cubicBezTo>
                    <a:pt x="111" y="710"/>
                    <a:pt x="104" y="703"/>
                    <a:pt x="104" y="694"/>
                  </a:cubicBezTo>
                  <a:cubicBezTo>
                    <a:pt x="104" y="694"/>
                    <a:pt x="104" y="694"/>
                    <a:pt x="104" y="571"/>
                  </a:cubicBezTo>
                  <a:cubicBezTo>
                    <a:pt x="104" y="562"/>
                    <a:pt x="111" y="555"/>
                    <a:pt x="120" y="555"/>
                  </a:cubicBezTo>
                  <a:cubicBezTo>
                    <a:pt x="120" y="555"/>
                    <a:pt x="120" y="555"/>
                    <a:pt x="213" y="555"/>
                  </a:cubicBezTo>
                  <a:cubicBezTo>
                    <a:pt x="213" y="555"/>
                    <a:pt x="213" y="555"/>
                    <a:pt x="181" y="587"/>
                  </a:cubicBezTo>
                  <a:cubicBezTo>
                    <a:pt x="135" y="587"/>
                    <a:pt x="135" y="587"/>
                    <a:pt x="135" y="587"/>
                  </a:cubicBezTo>
                  <a:cubicBezTo>
                    <a:pt x="135" y="587"/>
                    <a:pt x="135" y="587"/>
                    <a:pt x="135" y="678"/>
                  </a:cubicBezTo>
                  <a:cubicBezTo>
                    <a:pt x="135" y="678"/>
                    <a:pt x="135" y="678"/>
                    <a:pt x="227" y="678"/>
                  </a:cubicBezTo>
                  <a:cubicBezTo>
                    <a:pt x="227" y="678"/>
                    <a:pt x="227" y="678"/>
                    <a:pt x="227" y="674"/>
                  </a:cubicBezTo>
                  <a:cubicBezTo>
                    <a:pt x="227" y="674"/>
                    <a:pt x="227" y="674"/>
                    <a:pt x="259" y="642"/>
                  </a:cubicBezTo>
                  <a:cubicBezTo>
                    <a:pt x="259" y="642"/>
                    <a:pt x="259" y="642"/>
                    <a:pt x="259" y="694"/>
                  </a:cubicBezTo>
                  <a:close/>
                  <a:moveTo>
                    <a:pt x="291" y="567"/>
                  </a:moveTo>
                  <a:cubicBezTo>
                    <a:pt x="291" y="567"/>
                    <a:pt x="291" y="567"/>
                    <a:pt x="260" y="598"/>
                  </a:cubicBezTo>
                  <a:cubicBezTo>
                    <a:pt x="260" y="598"/>
                    <a:pt x="260" y="598"/>
                    <a:pt x="228" y="630"/>
                  </a:cubicBezTo>
                  <a:cubicBezTo>
                    <a:pt x="228" y="630"/>
                    <a:pt x="228" y="630"/>
                    <a:pt x="203" y="654"/>
                  </a:cubicBezTo>
                  <a:cubicBezTo>
                    <a:pt x="200" y="657"/>
                    <a:pt x="197" y="659"/>
                    <a:pt x="192" y="659"/>
                  </a:cubicBezTo>
                  <a:cubicBezTo>
                    <a:pt x="188" y="659"/>
                    <a:pt x="184" y="657"/>
                    <a:pt x="181" y="654"/>
                  </a:cubicBezTo>
                  <a:cubicBezTo>
                    <a:pt x="181" y="654"/>
                    <a:pt x="181" y="654"/>
                    <a:pt x="153" y="627"/>
                  </a:cubicBezTo>
                  <a:cubicBezTo>
                    <a:pt x="147" y="620"/>
                    <a:pt x="147" y="610"/>
                    <a:pt x="153" y="604"/>
                  </a:cubicBezTo>
                  <a:cubicBezTo>
                    <a:pt x="160" y="598"/>
                    <a:pt x="170" y="598"/>
                    <a:pt x="175" y="604"/>
                  </a:cubicBezTo>
                  <a:cubicBezTo>
                    <a:pt x="175" y="604"/>
                    <a:pt x="175" y="604"/>
                    <a:pt x="192" y="620"/>
                  </a:cubicBezTo>
                  <a:cubicBezTo>
                    <a:pt x="192" y="620"/>
                    <a:pt x="192" y="620"/>
                    <a:pt x="226" y="586"/>
                  </a:cubicBezTo>
                  <a:cubicBezTo>
                    <a:pt x="226" y="586"/>
                    <a:pt x="226" y="586"/>
                    <a:pt x="255" y="559"/>
                  </a:cubicBezTo>
                  <a:cubicBezTo>
                    <a:pt x="255" y="559"/>
                    <a:pt x="255" y="559"/>
                    <a:pt x="268" y="544"/>
                  </a:cubicBezTo>
                  <a:cubicBezTo>
                    <a:pt x="275" y="538"/>
                    <a:pt x="285" y="538"/>
                    <a:pt x="291" y="544"/>
                  </a:cubicBezTo>
                  <a:cubicBezTo>
                    <a:pt x="297" y="551"/>
                    <a:pt x="297" y="560"/>
                    <a:pt x="291" y="567"/>
                  </a:cubicBezTo>
                  <a:close/>
                  <a:moveTo>
                    <a:pt x="291" y="301"/>
                  </a:moveTo>
                  <a:cubicBezTo>
                    <a:pt x="291" y="301"/>
                    <a:pt x="291" y="301"/>
                    <a:pt x="260" y="332"/>
                  </a:cubicBezTo>
                  <a:cubicBezTo>
                    <a:pt x="260" y="332"/>
                    <a:pt x="260" y="332"/>
                    <a:pt x="228" y="364"/>
                  </a:cubicBezTo>
                  <a:cubicBezTo>
                    <a:pt x="228" y="364"/>
                    <a:pt x="228" y="364"/>
                    <a:pt x="203" y="388"/>
                  </a:cubicBezTo>
                  <a:cubicBezTo>
                    <a:pt x="200" y="391"/>
                    <a:pt x="197" y="393"/>
                    <a:pt x="192" y="393"/>
                  </a:cubicBezTo>
                  <a:cubicBezTo>
                    <a:pt x="188" y="393"/>
                    <a:pt x="184" y="391"/>
                    <a:pt x="181" y="388"/>
                  </a:cubicBezTo>
                  <a:cubicBezTo>
                    <a:pt x="181" y="388"/>
                    <a:pt x="181" y="388"/>
                    <a:pt x="153" y="361"/>
                  </a:cubicBezTo>
                  <a:cubicBezTo>
                    <a:pt x="147" y="354"/>
                    <a:pt x="147" y="344"/>
                    <a:pt x="153" y="338"/>
                  </a:cubicBezTo>
                  <a:cubicBezTo>
                    <a:pt x="160" y="332"/>
                    <a:pt x="170" y="332"/>
                    <a:pt x="175" y="338"/>
                  </a:cubicBezTo>
                  <a:cubicBezTo>
                    <a:pt x="175" y="338"/>
                    <a:pt x="175" y="338"/>
                    <a:pt x="192" y="354"/>
                  </a:cubicBezTo>
                  <a:cubicBezTo>
                    <a:pt x="192" y="354"/>
                    <a:pt x="192" y="354"/>
                    <a:pt x="226" y="320"/>
                  </a:cubicBezTo>
                  <a:cubicBezTo>
                    <a:pt x="226" y="320"/>
                    <a:pt x="226" y="320"/>
                    <a:pt x="255" y="293"/>
                  </a:cubicBezTo>
                  <a:cubicBezTo>
                    <a:pt x="255" y="293"/>
                    <a:pt x="255" y="293"/>
                    <a:pt x="268" y="278"/>
                  </a:cubicBezTo>
                  <a:cubicBezTo>
                    <a:pt x="275" y="272"/>
                    <a:pt x="285" y="272"/>
                    <a:pt x="291" y="278"/>
                  </a:cubicBezTo>
                  <a:cubicBezTo>
                    <a:pt x="297" y="285"/>
                    <a:pt x="297" y="294"/>
                    <a:pt x="291" y="301"/>
                  </a:cubicBezTo>
                  <a:close/>
                  <a:moveTo>
                    <a:pt x="530" y="710"/>
                  </a:moveTo>
                  <a:cubicBezTo>
                    <a:pt x="530" y="710"/>
                    <a:pt x="451" y="710"/>
                    <a:pt x="339" y="710"/>
                  </a:cubicBezTo>
                  <a:cubicBezTo>
                    <a:pt x="327" y="710"/>
                    <a:pt x="317" y="700"/>
                    <a:pt x="317" y="688"/>
                  </a:cubicBezTo>
                  <a:cubicBezTo>
                    <a:pt x="317" y="676"/>
                    <a:pt x="327" y="666"/>
                    <a:pt x="339" y="666"/>
                  </a:cubicBezTo>
                  <a:cubicBezTo>
                    <a:pt x="339" y="666"/>
                    <a:pt x="397" y="666"/>
                    <a:pt x="530" y="666"/>
                  </a:cubicBezTo>
                  <a:cubicBezTo>
                    <a:pt x="542" y="666"/>
                    <a:pt x="552" y="676"/>
                    <a:pt x="552" y="688"/>
                  </a:cubicBezTo>
                  <a:cubicBezTo>
                    <a:pt x="552" y="700"/>
                    <a:pt x="542" y="710"/>
                    <a:pt x="530" y="710"/>
                  </a:cubicBezTo>
                  <a:close/>
                  <a:moveTo>
                    <a:pt x="530" y="609"/>
                  </a:moveTo>
                  <a:cubicBezTo>
                    <a:pt x="530" y="609"/>
                    <a:pt x="428" y="609"/>
                    <a:pt x="339" y="609"/>
                  </a:cubicBezTo>
                  <a:cubicBezTo>
                    <a:pt x="327" y="609"/>
                    <a:pt x="317" y="599"/>
                    <a:pt x="317" y="587"/>
                  </a:cubicBezTo>
                  <a:cubicBezTo>
                    <a:pt x="317" y="575"/>
                    <a:pt x="327" y="565"/>
                    <a:pt x="339" y="565"/>
                  </a:cubicBezTo>
                  <a:cubicBezTo>
                    <a:pt x="339" y="565"/>
                    <a:pt x="475" y="565"/>
                    <a:pt x="530" y="565"/>
                  </a:cubicBezTo>
                  <a:cubicBezTo>
                    <a:pt x="542" y="565"/>
                    <a:pt x="552" y="575"/>
                    <a:pt x="552" y="587"/>
                  </a:cubicBezTo>
                  <a:cubicBezTo>
                    <a:pt x="552" y="599"/>
                    <a:pt x="542" y="609"/>
                    <a:pt x="530" y="609"/>
                  </a:cubicBezTo>
                  <a:close/>
                  <a:moveTo>
                    <a:pt x="530" y="444"/>
                  </a:moveTo>
                  <a:cubicBezTo>
                    <a:pt x="530" y="444"/>
                    <a:pt x="415" y="444"/>
                    <a:pt x="339" y="444"/>
                  </a:cubicBezTo>
                  <a:cubicBezTo>
                    <a:pt x="327" y="444"/>
                    <a:pt x="317" y="434"/>
                    <a:pt x="317" y="422"/>
                  </a:cubicBezTo>
                  <a:cubicBezTo>
                    <a:pt x="317" y="410"/>
                    <a:pt x="327" y="400"/>
                    <a:pt x="339" y="400"/>
                  </a:cubicBezTo>
                  <a:cubicBezTo>
                    <a:pt x="339" y="400"/>
                    <a:pt x="475" y="400"/>
                    <a:pt x="530" y="400"/>
                  </a:cubicBezTo>
                  <a:cubicBezTo>
                    <a:pt x="542" y="400"/>
                    <a:pt x="552" y="410"/>
                    <a:pt x="552" y="422"/>
                  </a:cubicBezTo>
                  <a:cubicBezTo>
                    <a:pt x="552" y="434"/>
                    <a:pt x="542" y="444"/>
                    <a:pt x="530" y="444"/>
                  </a:cubicBezTo>
                  <a:close/>
                  <a:moveTo>
                    <a:pt x="530" y="343"/>
                  </a:moveTo>
                  <a:cubicBezTo>
                    <a:pt x="530" y="343"/>
                    <a:pt x="413" y="343"/>
                    <a:pt x="339" y="343"/>
                  </a:cubicBezTo>
                  <a:cubicBezTo>
                    <a:pt x="327" y="343"/>
                    <a:pt x="317" y="333"/>
                    <a:pt x="317" y="321"/>
                  </a:cubicBezTo>
                  <a:cubicBezTo>
                    <a:pt x="317" y="309"/>
                    <a:pt x="327" y="299"/>
                    <a:pt x="339" y="299"/>
                  </a:cubicBezTo>
                  <a:cubicBezTo>
                    <a:pt x="339" y="299"/>
                    <a:pt x="458" y="299"/>
                    <a:pt x="530" y="299"/>
                  </a:cubicBezTo>
                  <a:cubicBezTo>
                    <a:pt x="542" y="299"/>
                    <a:pt x="552" y="309"/>
                    <a:pt x="552" y="321"/>
                  </a:cubicBezTo>
                  <a:cubicBezTo>
                    <a:pt x="552" y="333"/>
                    <a:pt x="542" y="343"/>
                    <a:pt x="530" y="34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1" name="Title 2">
            <a:extLst>
              <a:ext uri="{FF2B5EF4-FFF2-40B4-BE49-F238E27FC236}">
                <a16:creationId xmlns:a16="http://schemas.microsoft.com/office/drawing/2014/main" id="{08620544-667B-18C9-31E7-FBFC6048F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999" y="622800"/>
            <a:ext cx="11294145" cy="332399"/>
          </a:xfrm>
        </p:spPr>
        <p:txBody>
          <a:bodyPr vert="horz"/>
          <a:lstStyle/>
          <a:p>
            <a:r>
              <a:rPr lang="en-US" dirty="0">
                <a:solidFill>
                  <a:schemeClr val="accent2"/>
                </a:solidFill>
              </a:rPr>
              <a:t>Decision-making framework | </a:t>
            </a:r>
            <a:r>
              <a:rPr lang="en-US" dirty="0">
                <a:solidFill>
                  <a:srgbClr val="1B365F"/>
                </a:solidFill>
              </a:rPr>
              <a:t>Criteria identified to guide opportunity assessment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DF23C3C4-1B19-2DB5-EF25-9093D40CA693}"/>
              </a:ext>
            </a:extLst>
          </p:cNvPr>
          <p:cNvSpPr/>
          <p:nvPr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FEC00F"/>
          </a:solidFill>
          <a:ln w="9525" cap="rnd" cmpd="sng" algn="ctr">
            <a:solidFill>
              <a:srgbClr val="FEC00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0">
                <a:solidFill>
                  <a:srgbClr val="231F20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Draft – pre-decisional – for discussion only</a:t>
            </a:r>
            <a:endParaRPr lang="en-US" sz="1200" b="0">
              <a:solidFill>
                <a:srgbClr val="231F20"/>
              </a:solidFill>
            </a:endParaRPr>
          </a:p>
        </p:txBody>
      </p:sp>
      <p:sp>
        <p:nvSpPr>
          <p:cNvPr id="40" name="ee4pFootnotes">
            <a:extLst>
              <a:ext uri="{FF2B5EF4-FFF2-40B4-BE49-F238E27FC236}">
                <a16:creationId xmlns:a16="http://schemas.microsoft.com/office/drawing/2014/main" id="{338F85F0-6B01-E467-DC4C-7DFD7DB75A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0000" y="6501302"/>
            <a:ext cx="9030914" cy="15388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 marL="0" rtl="0" eaLnBrk="1" latinLnBrk="0" hangingPunct="1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575757"/>
                </a:solidFill>
                <a:latin typeface="+mj-lt"/>
                <a:cs typeface="Arial" pitchFamily="34" charset="0"/>
              </a:rPr>
              <a:t>Note: </a:t>
            </a:r>
            <a:r>
              <a:rPr lang="en-US" sz="1000" kern="1200" dirty="0">
                <a:solidFill>
                  <a:srgbClr val="575757"/>
                </a:solidFill>
                <a:effectLst/>
                <a:latin typeface="+mj-lt"/>
                <a:ea typeface="+mn-ea"/>
                <a:cs typeface="+mn-cs"/>
              </a:rPr>
              <a:t>Designed to support leadership discussion on discretionary areas of engagement</a:t>
            </a:r>
            <a:r>
              <a:rPr lang="en-US" sz="1000" dirty="0">
                <a:solidFill>
                  <a:srgbClr val="575757"/>
                </a:solidFill>
                <a:latin typeface="+mj-lt"/>
              </a:rPr>
              <a:t>; </a:t>
            </a:r>
            <a:r>
              <a:rPr lang="en-US" sz="1000" kern="1200" dirty="0">
                <a:solidFill>
                  <a:srgbClr val="575757"/>
                </a:solidFill>
                <a:effectLst/>
                <a:latin typeface="+mj-lt"/>
                <a:ea typeface="+mn-ea"/>
                <a:cs typeface="+mn-cs"/>
              </a:rPr>
              <a:t>Detailed companion tool for initiative-level design in development</a:t>
            </a:r>
            <a:endParaRPr lang="en-US" sz="1000" dirty="0">
              <a:solidFill>
                <a:srgbClr val="575757"/>
              </a:solidFill>
              <a:effectLst/>
              <a:latin typeface="+mj-lt"/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CC347C47-61E2-E401-A56D-9E2EFEA30439}"/>
              </a:ext>
            </a:extLst>
          </p:cNvPr>
          <p:cNvGrpSpPr/>
          <p:nvPr/>
        </p:nvGrpSpPr>
        <p:grpSpPr>
          <a:xfrm>
            <a:off x="2652190" y="6060016"/>
            <a:ext cx="7093202" cy="432520"/>
            <a:chOff x="2709768" y="6313466"/>
            <a:chExt cx="7097567" cy="432520"/>
          </a:xfrm>
        </p:grpSpPr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D6A17CA0-7302-FCC0-868F-D7635ECB7321}"/>
                </a:ext>
              </a:extLst>
            </p:cNvPr>
            <p:cNvSpPr txBox="1"/>
            <p:nvPr/>
          </p:nvSpPr>
          <p:spPr>
            <a:xfrm>
              <a:off x="3049450" y="6393878"/>
              <a:ext cx="6757885" cy="294747"/>
            </a:xfrm>
            <a:prstGeom prst="rect">
              <a:avLst/>
            </a:prstGeom>
            <a:solidFill>
              <a:srgbClr val="9A9A9A"/>
            </a:solidFill>
            <a:ln w="9525" cap="rnd">
              <a:noFill/>
              <a:prstDash val="solid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i="1" dirty="0">
                  <a:solidFill>
                    <a:srgbClr val="FFFFFF"/>
                  </a:solidFill>
                </a:rPr>
                <a:t>Do these categories resonate? What would you add or update?</a:t>
              </a:r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F22230B0-DE19-B1A1-CF28-28355A9DB179}"/>
                </a:ext>
              </a:extLst>
            </p:cNvPr>
            <p:cNvSpPr/>
            <p:nvPr/>
          </p:nvSpPr>
          <p:spPr>
            <a:xfrm>
              <a:off x="2709768" y="6313466"/>
              <a:ext cx="432520" cy="432520"/>
            </a:xfrm>
            <a:prstGeom prst="ellipse">
              <a:avLst/>
            </a:prstGeom>
            <a:ln w="10795" cap="flat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grpSp>
          <p:nvGrpSpPr>
            <p:cNvPr id="44" name="bcgBugs_Speaking ">
              <a:extLst>
                <a:ext uri="{FF2B5EF4-FFF2-40B4-BE49-F238E27FC236}">
                  <a16:creationId xmlns:a16="http://schemas.microsoft.com/office/drawing/2014/main" id="{5F31FF75-6CEB-F3CB-FC97-A9819160BFEA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784498" y="6407079"/>
              <a:ext cx="301457" cy="301752"/>
              <a:chOff x="2818" y="1137"/>
              <a:chExt cx="2044" cy="2046"/>
            </a:xfrm>
          </p:grpSpPr>
          <p:sp>
            <p:nvSpPr>
              <p:cNvPr id="45" name="AutoShape 3">
                <a:extLst>
                  <a:ext uri="{FF2B5EF4-FFF2-40B4-BE49-F238E27FC236}">
                    <a16:creationId xmlns:a16="http://schemas.microsoft.com/office/drawing/2014/main" id="{9A5FC7FB-8E23-F1C5-5ADA-4C60B22B040A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2818" y="1137"/>
                <a:ext cx="2044" cy="2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7">
                <a:extLst>
                  <a:ext uri="{FF2B5EF4-FFF2-40B4-BE49-F238E27FC236}">
                    <a16:creationId xmlns:a16="http://schemas.microsoft.com/office/drawing/2014/main" id="{407EB095-8D1B-770C-969F-EA6E81AFD6D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974" y="1276"/>
                <a:ext cx="1735" cy="1770"/>
              </a:xfrm>
              <a:custGeom>
                <a:avLst/>
                <a:gdLst>
                  <a:gd name="T0" fmla="*/ 808 w 848"/>
                  <a:gd name="T1" fmla="*/ 0 h 864"/>
                  <a:gd name="T2" fmla="*/ 40 w 848"/>
                  <a:gd name="T3" fmla="*/ 0 h 864"/>
                  <a:gd name="T4" fmla="*/ 0 w 848"/>
                  <a:gd name="T5" fmla="*/ 40 h 864"/>
                  <a:gd name="T6" fmla="*/ 0 w 848"/>
                  <a:gd name="T7" fmla="*/ 593 h 864"/>
                  <a:gd name="T8" fmla="*/ 40 w 848"/>
                  <a:gd name="T9" fmla="*/ 633 h 864"/>
                  <a:gd name="T10" fmla="*/ 243 w 848"/>
                  <a:gd name="T11" fmla="*/ 633 h 864"/>
                  <a:gd name="T12" fmla="*/ 243 w 848"/>
                  <a:gd name="T13" fmla="*/ 824 h 864"/>
                  <a:gd name="T14" fmla="*/ 244 w 848"/>
                  <a:gd name="T15" fmla="*/ 831 h 864"/>
                  <a:gd name="T16" fmla="*/ 278 w 848"/>
                  <a:gd name="T17" fmla="*/ 863 h 864"/>
                  <a:gd name="T18" fmla="*/ 287 w 848"/>
                  <a:gd name="T19" fmla="*/ 864 h 864"/>
                  <a:gd name="T20" fmla="*/ 333 w 848"/>
                  <a:gd name="T21" fmla="*/ 840 h 864"/>
                  <a:gd name="T22" fmla="*/ 389 w 848"/>
                  <a:gd name="T23" fmla="*/ 779 h 864"/>
                  <a:gd name="T24" fmla="*/ 524 w 848"/>
                  <a:gd name="T25" fmla="*/ 633 h 864"/>
                  <a:gd name="T26" fmla="*/ 808 w 848"/>
                  <a:gd name="T27" fmla="*/ 633 h 864"/>
                  <a:gd name="T28" fmla="*/ 848 w 848"/>
                  <a:gd name="T29" fmla="*/ 593 h 864"/>
                  <a:gd name="T30" fmla="*/ 848 w 848"/>
                  <a:gd name="T31" fmla="*/ 40 h 864"/>
                  <a:gd name="T32" fmla="*/ 808 w 848"/>
                  <a:gd name="T33" fmla="*/ 0 h 864"/>
                  <a:gd name="T34" fmla="*/ 680 w 848"/>
                  <a:gd name="T35" fmla="*/ 487 h 864"/>
                  <a:gd name="T36" fmla="*/ 168 w 848"/>
                  <a:gd name="T37" fmla="*/ 487 h 864"/>
                  <a:gd name="T38" fmla="*/ 146 w 848"/>
                  <a:gd name="T39" fmla="*/ 465 h 864"/>
                  <a:gd name="T40" fmla="*/ 168 w 848"/>
                  <a:gd name="T41" fmla="*/ 443 h 864"/>
                  <a:gd name="T42" fmla="*/ 680 w 848"/>
                  <a:gd name="T43" fmla="*/ 443 h 864"/>
                  <a:gd name="T44" fmla="*/ 702 w 848"/>
                  <a:gd name="T45" fmla="*/ 465 h 864"/>
                  <a:gd name="T46" fmla="*/ 680 w 848"/>
                  <a:gd name="T47" fmla="*/ 487 h 864"/>
                  <a:gd name="T48" fmla="*/ 680 w 848"/>
                  <a:gd name="T49" fmla="*/ 345 h 864"/>
                  <a:gd name="T50" fmla="*/ 168 w 848"/>
                  <a:gd name="T51" fmla="*/ 345 h 864"/>
                  <a:gd name="T52" fmla="*/ 146 w 848"/>
                  <a:gd name="T53" fmla="*/ 323 h 864"/>
                  <a:gd name="T54" fmla="*/ 168 w 848"/>
                  <a:gd name="T55" fmla="*/ 301 h 864"/>
                  <a:gd name="T56" fmla="*/ 680 w 848"/>
                  <a:gd name="T57" fmla="*/ 301 h 864"/>
                  <a:gd name="T58" fmla="*/ 702 w 848"/>
                  <a:gd name="T59" fmla="*/ 323 h 864"/>
                  <a:gd name="T60" fmla="*/ 680 w 848"/>
                  <a:gd name="T61" fmla="*/ 345 h 864"/>
                  <a:gd name="T62" fmla="*/ 680 w 848"/>
                  <a:gd name="T63" fmla="*/ 204 h 864"/>
                  <a:gd name="T64" fmla="*/ 168 w 848"/>
                  <a:gd name="T65" fmla="*/ 204 h 864"/>
                  <a:gd name="T66" fmla="*/ 146 w 848"/>
                  <a:gd name="T67" fmla="*/ 182 h 864"/>
                  <a:gd name="T68" fmla="*/ 168 w 848"/>
                  <a:gd name="T69" fmla="*/ 160 h 864"/>
                  <a:gd name="T70" fmla="*/ 680 w 848"/>
                  <a:gd name="T71" fmla="*/ 160 h 864"/>
                  <a:gd name="T72" fmla="*/ 702 w 848"/>
                  <a:gd name="T73" fmla="*/ 182 h 864"/>
                  <a:gd name="T74" fmla="*/ 680 w 848"/>
                  <a:gd name="T75" fmla="*/ 204 h 8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848" h="864">
                    <a:moveTo>
                      <a:pt x="808" y="0"/>
                    </a:moveTo>
                    <a:cubicBezTo>
                      <a:pt x="40" y="0"/>
                      <a:pt x="40" y="0"/>
                      <a:pt x="40" y="0"/>
                    </a:cubicBezTo>
                    <a:cubicBezTo>
                      <a:pt x="18" y="0"/>
                      <a:pt x="0" y="18"/>
                      <a:pt x="0" y="40"/>
                    </a:cubicBezTo>
                    <a:cubicBezTo>
                      <a:pt x="0" y="593"/>
                      <a:pt x="0" y="593"/>
                      <a:pt x="0" y="593"/>
                    </a:cubicBezTo>
                    <a:cubicBezTo>
                      <a:pt x="0" y="615"/>
                      <a:pt x="18" y="633"/>
                      <a:pt x="40" y="633"/>
                    </a:cubicBezTo>
                    <a:cubicBezTo>
                      <a:pt x="243" y="633"/>
                      <a:pt x="243" y="633"/>
                      <a:pt x="243" y="633"/>
                    </a:cubicBezTo>
                    <a:cubicBezTo>
                      <a:pt x="243" y="824"/>
                      <a:pt x="243" y="824"/>
                      <a:pt x="243" y="824"/>
                    </a:cubicBezTo>
                    <a:cubicBezTo>
                      <a:pt x="243" y="827"/>
                      <a:pt x="244" y="829"/>
                      <a:pt x="244" y="831"/>
                    </a:cubicBezTo>
                    <a:cubicBezTo>
                      <a:pt x="245" y="834"/>
                      <a:pt x="254" y="858"/>
                      <a:pt x="278" y="863"/>
                    </a:cubicBezTo>
                    <a:cubicBezTo>
                      <a:pt x="281" y="864"/>
                      <a:pt x="284" y="864"/>
                      <a:pt x="287" y="864"/>
                    </a:cubicBezTo>
                    <a:cubicBezTo>
                      <a:pt x="302" y="864"/>
                      <a:pt x="318" y="856"/>
                      <a:pt x="333" y="840"/>
                    </a:cubicBezTo>
                    <a:cubicBezTo>
                      <a:pt x="344" y="829"/>
                      <a:pt x="364" y="807"/>
                      <a:pt x="389" y="779"/>
                    </a:cubicBezTo>
                    <a:cubicBezTo>
                      <a:pt x="426" y="737"/>
                      <a:pt x="477" y="681"/>
                      <a:pt x="524" y="633"/>
                    </a:cubicBezTo>
                    <a:cubicBezTo>
                      <a:pt x="808" y="633"/>
                      <a:pt x="808" y="633"/>
                      <a:pt x="808" y="633"/>
                    </a:cubicBezTo>
                    <a:cubicBezTo>
                      <a:pt x="830" y="633"/>
                      <a:pt x="848" y="615"/>
                      <a:pt x="848" y="593"/>
                    </a:cubicBezTo>
                    <a:cubicBezTo>
                      <a:pt x="848" y="40"/>
                      <a:pt x="848" y="40"/>
                      <a:pt x="848" y="40"/>
                    </a:cubicBezTo>
                    <a:cubicBezTo>
                      <a:pt x="848" y="18"/>
                      <a:pt x="830" y="0"/>
                      <a:pt x="808" y="0"/>
                    </a:cubicBezTo>
                    <a:close/>
                    <a:moveTo>
                      <a:pt x="680" y="487"/>
                    </a:moveTo>
                    <a:cubicBezTo>
                      <a:pt x="168" y="487"/>
                      <a:pt x="168" y="487"/>
                      <a:pt x="168" y="487"/>
                    </a:cubicBezTo>
                    <a:cubicBezTo>
                      <a:pt x="155" y="487"/>
                      <a:pt x="146" y="477"/>
                      <a:pt x="146" y="465"/>
                    </a:cubicBezTo>
                    <a:cubicBezTo>
                      <a:pt x="146" y="453"/>
                      <a:pt x="155" y="443"/>
                      <a:pt x="168" y="443"/>
                    </a:cubicBezTo>
                    <a:cubicBezTo>
                      <a:pt x="680" y="443"/>
                      <a:pt x="680" y="443"/>
                      <a:pt x="680" y="443"/>
                    </a:cubicBezTo>
                    <a:cubicBezTo>
                      <a:pt x="693" y="443"/>
                      <a:pt x="702" y="453"/>
                      <a:pt x="702" y="465"/>
                    </a:cubicBezTo>
                    <a:cubicBezTo>
                      <a:pt x="702" y="477"/>
                      <a:pt x="693" y="487"/>
                      <a:pt x="680" y="487"/>
                    </a:cubicBezTo>
                    <a:close/>
                    <a:moveTo>
                      <a:pt x="680" y="345"/>
                    </a:moveTo>
                    <a:cubicBezTo>
                      <a:pt x="168" y="345"/>
                      <a:pt x="168" y="345"/>
                      <a:pt x="168" y="345"/>
                    </a:cubicBezTo>
                    <a:cubicBezTo>
                      <a:pt x="155" y="345"/>
                      <a:pt x="146" y="335"/>
                      <a:pt x="146" y="323"/>
                    </a:cubicBezTo>
                    <a:cubicBezTo>
                      <a:pt x="146" y="310"/>
                      <a:pt x="155" y="301"/>
                      <a:pt x="168" y="301"/>
                    </a:cubicBezTo>
                    <a:cubicBezTo>
                      <a:pt x="680" y="301"/>
                      <a:pt x="680" y="301"/>
                      <a:pt x="680" y="301"/>
                    </a:cubicBezTo>
                    <a:cubicBezTo>
                      <a:pt x="693" y="301"/>
                      <a:pt x="702" y="310"/>
                      <a:pt x="702" y="323"/>
                    </a:cubicBezTo>
                    <a:cubicBezTo>
                      <a:pt x="702" y="335"/>
                      <a:pt x="693" y="345"/>
                      <a:pt x="680" y="345"/>
                    </a:cubicBezTo>
                    <a:close/>
                    <a:moveTo>
                      <a:pt x="680" y="204"/>
                    </a:moveTo>
                    <a:cubicBezTo>
                      <a:pt x="168" y="204"/>
                      <a:pt x="168" y="204"/>
                      <a:pt x="168" y="204"/>
                    </a:cubicBezTo>
                    <a:cubicBezTo>
                      <a:pt x="155" y="204"/>
                      <a:pt x="146" y="194"/>
                      <a:pt x="146" y="182"/>
                    </a:cubicBezTo>
                    <a:cubicBezTo>
                      <a:pt x="146" y="170"/>
                      <a:pt x="155" y="160"/>
                      <a:pt x="168" y="160"/>
                    </a:cubicBezTo>
                    <a:cubicBezTo>
                      <a:pt x="680" y="160"/>
                      <a:pt x="680" y="160"/>
                      <a:pt x="680" y="160"/>
                    </a:cubicBezTo>
                    <a:cubicBezTo>
                      <a:pt x="693" y="160"/>
                      <a:pt x="702" y="170"/>
                      <a:pt x="702" y="182"/>
                    </a:cubicBezTo>
                    <a:cubicBezTo>
                      <a:pt x="702" y="194"/>
                      <a:pt x="693" y="204"/>
                      <a:pt x="680" y="204"/>
                    </a:cubicBezTo>
                    <a:close/>
                  </a:path>
                </a:pathLst>
              </a:custGeom>
              <a:solidFill>
                <a:srgbClr val="9A9A9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44379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B9CAADD-3883-41A2-A3A1-3B994371776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56603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B9CAADD-3883-41A2-A3A1-3B99437177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" name="Oval 162">
            <a:extLst>
              <a:ext uri="{FF2B5EF4-FFF2-40B4-BE49-F238E27FC236}">
                <a16:creationId xmlns:a16="http://schemas.microsoft.com/office/drawing/2014/main" id="{F0A7B0BC-6AB1-4216-639E-F397F3EA0235}"/>
              </a:ext>
            </a:extLst>
          </p:cNvPr>
          <p:cNvSpPr/>
          <p:nvPr/>
        </p:nvSpPr>
        <p:spPr>
          <a:xfrm>
            <a:off x="1630615" y="6352240"/>
            <a:ext cx="182880" cy="182880"/>
          </a:xfrm>
          <a:prstGeom prst="ellipse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79A4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779A4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64" name="Oval 163">
            <a:extLst>
              <a:ext uri="{FF2B5EF4-FFF2-40B4-BE49-F238E27FC236}">
                <a16:creationId xmlns:a16="http://schemas.microsoft.com/office/drawing/2014/main" id="{145092EA-394A-1681-E377-26562FFEABF0}"/>
              </a:ext>
            </a:extLst>
          </p:cNvPr>
          <p:cNvSpPr/>
          <p:nvPr/>
        </p:nvSpPr>
        <p:spPr>
          <a:xfrm>
            <a:off x="2323943" y="6352240"/>
            <a:ext cx="182880" cy="182880"/>
          </a:xfrm>
          <a:prstGeom prst="ellipse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EC00F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FEC00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65" name="Oval 164">
            <a:extLst>
              <a:ext uri="{FF2B5EF4-FFF2-40B4-BE49-F238E27FC236}">
                <a16:creationId xmlns:a16="http://schemas.microsoft.com/office/drawing/2014/main" id="{1134B4E4-3CE0-9C02-2223-2352D211261C}"/>
              </a:ext>
            </a:extLst>
          </p:cNvPr>
          <p:cNvSpPr/>
          <p:nvPr/>
        </p:nvSpPr>
        <p:spPr>
          <a:xfrm>
            <a:off x="2950596" y="6352240"/>
            <a:ext cx="182880" cy="182880"/>
          </a:xfrm>
          <a:prstGeom prst="ellipse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EC00F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FEC00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66" name="Oval 165">
            <a:extLst>
              <a:ext uri="{FF2B5EF4-FFF2-40B4-BE49-F238E27FC236}">
                <a16:creationId xmlns:a16="http://schemas.microsoft.com/office/drawing/2014/main" id="{BE0F52C6-46B5-7073-7E12-6F412B1054EC}"/>
              </a:ext>
            </a:extLst>
          </p:cNvPr>
          <p:cNvSpPr/>
          <p:nvPr/>
        </p:nvSpPr>
        <p:spPr>
          <a:xfrm>
            <a:off x="3615348" y="6352240"/>
            <a:ext cx="182880" cy="182880"/>
          </a:xfrm>
          <a:prstGeom prst="ellipse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accent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67" name="Rectangle 166">
            <a:extLst>
              <a:ext uri="{FF2B5EF4-FFF2-40B4-BE49-F238E27FC236}">
                <a16:creationId xmlns:a16="http://schemas.microsoft.com/office/drawing/2014/main" id="{1D584D33-A4C5-C150-B903-6572367F6F64}"/>
              </a:ext>
            </a:extLst>
          </p:cNvPr>
          <p:cNvSpPr/>
          <p:nvPr/>
        </p:nvSpPr>
        <p:spPr>
          <a:xfrm>
            <a:off x="635233" y="6289480"/>
            <a:ext cx="924668" cy="30840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200" u="sng" dirty="0">
                <a:solidFill>
                  <a:srgbClr val="1B365F"/>
                </a:solidFill>
              </a:rPr>
              <a:t>Key</a:t>
            </a:r>
          </a:p>
        </p:txBody>
      </p:sp>
      <p:sp>
        <p:nvSpPr>
          <p:cNvPr id="168" name="Rectangle 167">
            <a:extLst>
              <a:ext uri="{FF2B5EF4-FFF2-40B4-BE49-F238E27FC236}">
                <a16:creationId xmlns:a16="http://schemas.microsoft.com/office/drawing/2014/main" id="{9ADB1663-3ADA-C7B0-C9C0-098C35377643}"/>
              </a:ext>
            </a:extLst>
          </p:cNvPr>
          <p:cNvSpPr/>
          <p:nvPr/>
        </p:nvSpPr>
        <p:spPr>
          <a:xfrm>
            <a:off x="1205229" y="6289480"/>
            <a:ext cx="924668" cy="30840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200" dirty="0">
                <a:solidFill>
                  <a:srgbClr val="1B365F"/>
                </a:solidFill>
              </a:rPr>
              <a:t>High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E9934EB5-0653-1476-CA87-3920FA6C9EF5}"/>
              </a:ext>
            </a:extLst>
          </p:cNvPr>
          <p:cNvSpPr/>
          <p:nvPr/>
        </p:nvSpPr>
        <p:spPr>
          <a:xfrm>
            <a:off x="8813740" y="2754533"/>
            <a:ext cx="2037864" cy="1561630"/>
          </a:xfrm>
          <a:prstGeom prst="rect">
            <a:avLst/>
          </a:prstGeom>
          <a:solidFill>
            <a:srgbClr val="A1C5E2"/>
          </a:solidFill>
          <a:ln w="9525" cap="rnd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7FCEF323-825D-8D08-9C1C-E34E5672695D}"/>
              </a:ext>
            </a:extLst>
          </p:cNvPr>
          <p:cNvSpPr/>
          <p:nvPr/>
        </p:nvSpPr>
        <p:spPr>
          <a:xfrm rot="16200000">
            <a:off x="7473807" y="2972418"/>
            <a:ext cx="1550910" cy="1095613"/>
          </a:xfrm>
          <a:prstGeom prst="rect">
            <a:avLst/>
          </a:prstGeom>
          <a:solidFill>
            <a:srgbClr val="DCE6F5"/>
          </a:solidFill>
          <a:ln w="9525" cap="rnd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AC75FBB5-9D03-0A90-9AD9-2C33A018B7FF}"/>
              </a:ext>
            </a:extLst>
          </p:cNvPr>
          <p:cNvSpPr/>
          <p:nvPr/>
        </p:nvSpPr>
        <p:spPr>
          <a:xfrm>
            <a:off x="7701456" y="4301887"/>
            <a:ext cx="3150147" cy="774265"/>
          </a:xfrm>
          <a:prstGeom prst="rect">
            <a:avLst/>
          </a:prstGeom>
          <a:solidFill>
            <a:srgbClr val="DCE6F5"/>
          </a:solidFill>
          <a:ln w="9525" cap="rnd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13422DC1-657F-78E0-13E9-679507856ECE}"/>
              </a:ext>
            </a:extLst>
          </p:cNvPr>
          <p:cNvSpPr/>
          <p:nvPr/>
        </p:nvSpPr>
        <p:spPr>
          <a:xfrm rot="16200000">
            <a:off x="6138610" y="3486729"/>
            <a:ext cx="2272956" cy="852730"/>
          </a:xfrm>
          <a:prstGeom prst="rect">
            <a:avLst/>
          </a:prstGeom>
          <a:solidFill>
            <a:srgbClr val="F3F6FB"/>
          </a:solidFill>
          <a:ln w="9525" cap="rnd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97B29AAC-0BA2-19AC-2CF1-5326DFAECE5B}"/>
              </a:ext>
            </a:extLst>
          </p:cNvPr>
          <p:cNvSpPr/>
          <p:nvPr/>
        </p:nvSpPr>
        <p:spPr>
          <a:xfrm>
            <a:off x="6848722" y="5047587"/>
            <a:ext cx="4002882" cy="621537"/>
          </a:xfrm>
          <a:prstGeom prst="rect">
            <a:avLst/>
          </a:prstGeom>
          <a:solidFill>
            <a:srgbClr val="F3F6FB"/>
          </a:solidFill>
          <a:ln w="9525" cap="rnd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9" name="Title 28">
            <a:extLst>
              <a:ext uri="{FF2B5EF4-FFF2-40B4-BE49-F238E27FC236}">
                <a16:creationId xmlns:a16="http://schemas.microsoft.com/office/drawing/2014/main" id="{6E2148EA-2348-6575-0849-8621DCF945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1424" y="622800"/>
            <a:ext cx="11752497" cy="318549"/>
          </a:xfrm>
        </p:spPr>
        <p:txBody>
          <a:bodyPr vert="horz"/>
          <a:lstStyle/>
          <a:p>
            <a:r>
              <a:rPr lang="en-US" sz="2300" dirty="0">
                <a:solidFill>
                  <a:schemeClr val="accent2"/>
                </a:solidFill>
              </a:rPr>
              <a:t>Illustrative example | </a:t>
            </a:r>
            <a:r>
              <a:rPr lang="en-US" sz="2300" dirty="0">
                <a:solidFill>
                  <a:srgbClr val="1B365F"/>
                </a:solidFill>
              </a:rPr>
              <a:t>Framework can be used to take a portfolio view of investments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6AB70506-E640-AE49-8DEB-6C38DFE723C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01844638"/>
              </p:ext>
            </p:extLst>
          </p:nvPr>
        </p:nvGraphicFramePr>
        <p:xfrm>
          <a:off x="628991" y="2287146"/>
          <a:ext cx="4504051" cy="3839526"/>
        </p:xfrm>
        <a:graphic>
          <a:graphicData uri="http://schemas.openxmlformats.org/drawingml/2006/table">
            <a:tbl>
              <a:tblPr firstRow="1">
                <a:tableStyleId>{2D5ABB26-0587-4C30-8999-92F81FD0307C}</a:tableStyleId>
              </a:tblPr>
              <a:tblGrid>
                <a:gridCol w="9144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50714">
                  <a:extLst>
                    <a:ext uri="{9D8B030D-6E8A-4147-A177-3AD203B41FA5}">
                      <a16:colId xmlns:a16="http://schemas.microsoft.com/office/drawing/2014/main" val="2219206187"/>
                    </a:ext>
                  </a:extLst>
                </a:gridCol>
                <a:gridCol w="634128">
                  <a:extLst>
                    <a:ext uri="{9D8B030D-6E8A-4147-A177-3AD203B41FA5}">
                      <a16:colId xmlns:a16="http://schemas.microsoft.com/office/drawing/2014/main" val="2423398062"/>
                    </a:ext>
                  </a:extLst>
                </a:gridCol>
                <a:gridCol w="63412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4772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82296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273114">
                <a:tc>
                  <a:txBody>
                    <a:bodyPr/>
                    <a:lstStyle/>
                    <a:p>
                      <a:pPr marL="0" lvl="0" indent="0" algn="l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sz="1200" b="1" i="0" u="none" dirty="0">
                          <a:solidFill>
                            <a:srgbClr val="231F20"/>
                          </a:solidFill>
                          <a:latin typeface="+mn-lt"/>
                        </a:rPr>
                        <a:t>Oppty</a:t>
                      </a:r>
                    </a:p>
                  </a:txBody>
                  <a:tcPr marL="18288" marR="18288" marT="18288" marB="18288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1200" b="1" i="0" u="none" dirty="0">
                        <a:solidFill>
                          <a:srgbClr val="231F20"/>
                        </a:solidFill>
                        <a:latin typeface="+mn-lt"/>
                      </a:endParaRPr>
                    </a:p>
                  </a:txBody>
                  <a:tcPr marL="18288" marR="18288" marT="18288" marB="18288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1200" b="1" i="0" u="none">
                        <a:solidFill>
                          <a:srgbClr val="231F20"/>
                        </a:solidFill>
                        <a:latin typeface="+mn-lt"/>
                      </a:endParaRPr>
                    </a:p>
                  </a:txBody>
                  <a:tcPr marL="18288" marR="18288" marT="18288" marB="18288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1200" b="1" i="0" u="none" dirty="0">
                        <a:solidFill>
                          <a:srgbClr val="231F20"/>
                        </a:solidFill>
                        <a:latin typeface="+mn-lt"/>
                      </a:endParaRPr>
                    </a:p>
                  </a:txBody>
                  <a:tcPr marL="18288" marR="18288" marT="18288" marB="18288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1200" b="1" i="0" u="none" dirty="0">
                        <a:solidFill>
                          <a:srgbClr val="231F20"/>
                        </a:solidFill>
                        <a:latin typeface="+mn-lt"/>
                      </a:endParaRPr>
                    </a:p>
                  </a:txBody>
                  <a:tcPr marL="18288" marR="18288" marT="18288" marB="18288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sz="1200" b="1" i="0" u="none" dirty="0">
                          <a:solidFill>
                            <a:srgbClr val="231F20"/>
                          </a:solidFill>
                          <a:latin typeface="+mn-lt"/>
                        </a:rPr>
                        <a:t> Rationale</a:t>
                      </a:r>
                    </a:p>
                  </a:txBody>
                  <a:tcPr marL="18288" marR="18288" marT="18288" marB="18288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49214"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rgbClr val="231F20"/>
                        </a:solidFill>
                      </a:endParaRPr>
                    </a:p>
                  </a:txBody>
                  <a:tcPr marL="45720" marR="4572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0" i="0" u="none">
                        <a:solidFill>
                          <a:srgbClr val="231F20"/>
                        </a:solidFill>
                        <a:latin typeface="+mn-lt"/>
                      </a:endParaRPr>
                    </a:p>
                  </a:txBody>
                  <a:tcPr marL="18288" marR="18288" marT="18288" marB="18288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0" i="0" u="none">
                        <a:solidFill>
                          <a:srgbClr val="231F20"/>
                        </a:solidFill>
                        <a:latin typeface="+mn-lt"/>
                      </a:endParaRPr>
                    </a:p>
                  </a:txBody>
                  <a:tcPr marL="18288" marR="18288" marT="18288" marB="18288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0" i="0" u="none">
                        <a:solidFill>
                          <a:srgbClr val="231F20"/>
                        </a:solidFill>
                        <a:latin typeface="+mn-lt"/>
                      </a:endParaRPr>
                    </a:p>
                  </a:txBody>
                  <a:tcPr marL="18288" marR="18288" marT="18288" marB="18288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0" i="0" u="none">
                        <a:solidFill>
                          <a:srgbClr val="231F20"/>
                        </a:solidFill>
                        <a:latin typeface="+mn-lt"/>
                      </a:endParaRPr>
                    </a:p>
                  </a:txBody>
                  <a:tcPr marL="18288" marR="18288" marT="18288" marB="18288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900" b="0" i="1" u="none" dirty="0">
                        <a:solidFill>
                          <a:srgbClr val="1B365F"/>
                        </a:solidFill>
                        <a:latin typeface="+mn-lt"/>
                      </a:endParaRPr>
                    </a:p>
                  </a:txBody>
                  <a:tcPr marL="18288" marR="18288" marT="18288" marB="18288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33269866"/>
                  </a:ext>
                </a:extLst>
              </a:tr>
              <a:tr h="649214"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rgbClr val="231F20"/>
                        </a:solidFill>
                      </a:endParaRPr>
                    </a:p>
                  </a:txBody>
                  <a:tcPr marL="45720" marR="4572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0" i="0" u="none">
                        <a:solidFill>
                          <a:srgbClr val="231F20"/>
                        </a:solidFill>
                        <a:latin typeface="+mn-lt"/>
                      </a:endParaRPr>
                    </a:p>
                  </a:txBody>
                  <a:tcPr marL="18288" marR="18288" marT="18288" marB="18288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0" i="0" u="none">
                        <a:solidFill>
                          <a:srgbClr val="231F20"/>
                        </a:solidFill>
                        <a:latin typeface="+mn-lt"/>
                      </a:endParaRPr>
                    </a:p>
                  </a:txBody>
                  <a:tcPr marL="18288" marR="18288" marT="18288" marB="18288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0" i="0" u="none">
                        <a:solidFill>
                          <a:srgbClr val="231F20"/>
                        </a:solidFill>
                        <a:latin typeface="+mn-lt"/>
                      </a:endParaRPr>
                    </a:p>
                  </a:txBody>
                  <a:tcPr marL="18288" marR="18288" marT="18288" marB="18288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0" i="0" u="none">
                        <a:solidFill>
                          <a:srgbClr val="231F20"/>
                        </a:solidFill>
                        <a:latin typeface="+mn-lt"/>
                      </a:endParaRPr>
                    </a:p>
                  </a:txBody>
                  <a:tcPr marL="18288" marR="18288" marT="18288" marB="18288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 algn="l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Char char="-"/>
                      </a:pPr>
                      <a:endParaRPr lang="en-US" sz="900" b="0" i="1" u="none" dirty="0">
                        <a:solidFill>
                          <a:srgbClr val="1B365F"/>
                        </a:solidFill>
                        <a:latin typeface="+mn-lt"/>
                      </a:endParaRPr>
                    </a:p>
                  </a:txBody>
                  <a:tcPr marL="18288" marR="18288" marT="18288" marB="18288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25946"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rgbClr val="231F20"/>
                        </a:solidFill>
                      </a:endParaRPr>
                    </a:p>
                  </a:txBody>
                  <a:tcPr marL="45720" marR="4572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0" i="0" u="none">
                        <a:solidFill>
                          <a:srgbClr val="231F20"/>
                        </a:solidFill>
                        <a:latin typeface="+mn-lt"/>
                      </a:endParaRPr>
                    </a:p>
                  </a:txBody>
                  <a:tcPr marL="18288" marR="18288" marT="18288" marB="18288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0" i="0" u="none">
                        <a:solidFill>
                          <a:srgbClr val="231F20"/>
                        </a:solidFill>
                        <a:latin typeface="+mn-lt"/>
                      </a:endParaRPr>
                    </a:p>
                  </a:txBody>
                  <a:tcPr marL="18288" marR="18288" marT="18288" marB="18288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0" i="0" u="none">
                        <a:solidFill>
                          <a:srgbClr val="231F20"/>
                        </a:solidFill>
                        <a:latin typeface="+mn-lt"/>
                      </a:endParaRPr>
                    </a:p>
                  </a:txBody>
                  <a:tcPr marL="18288" marR="18288" marT="18288" marB="18288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0" i="0" u="none">
                        <a:solidFill>
                          <a:srgbClr val="231F20"/>
                        </a:solidFill>
                        <a:latin typeface="+mn-lt"/>
                      </a:endParaRPr>
                    </a:p>
                  </a:txBody>
                  <a:tcPr marL="18288" marR="18288" marT="18288" marB="18288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 algn="l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Char char="-"/>
                      </a:pPr>
                      <a:endParaRPr lang="en-US" sz="900" b="0" i="1" u="none" dirty="0">
                        <a:solidFill>
                          <a:srgbClr val="1B365F"/>
                        </a:solidFill>
                        <a:latin typeface="+mn-lt"/>
                      </a:endParaRPr>
                    </a:p>
                  </a:txBody>
                  <a:tcPr marL="18288" marR="18288" marT="18288" marB="18288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40394">
                <a:tc>
                  <a:txBody>
                    <a:bodyPr/>
                    <a:lstStyle/>
                    <a:p>
                      <a:pPr marL="0" indent="0" algn="l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dirty="0">
                        <a:solidFill>
                          <a:srgbClr val="231F20"/>
                        </a:solidFill>
                        <a:latin typeface="+mn-lt"/>
                      </a:endParaRPr>
                    </a:p>
                  </a:txBody>
                  <a:tcPr marL="18288" marR="18288" marT="18288" marB="18288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0" i="0" u="none">
                        <a:solidFill>
                          <a:srgbClr val="231F20"/>
                        </a:solidFill>
                        <a:latin typeface="+mn-lt"/>
                      </a:endParaRPr>
                    </a:p>
                  </a:txBody>
                  <a:tcPr marL="18288" marR="18288" marT="18288" marB="18288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0" i="0" u="none">
                        <a:solidFill>
                          <a:srgbClr val="231F20"/>
                        </a:solidFill>
                        <a:latin typeface="+mn-lt"/>
                      </a:endParaRPr>
                    </a:p>
                  </a:txBody>
                  <a:tcPr marL="18288" marR="18288" marT="18288" marB="18288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0" i="0" u="none">
                        <a:solidFill>
                          <a:srgbClr val="231F20"/>
                        </a:solidFill>
                        <a:latin typeface="+mn-lt"/>
                      </a:endParaRPr>
                    </a:p>
                  </a:txBody>
                  <a:tcPr marL="18288" marR="18288" marT="18288" marB="18288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0" i="0" u="none">
                        <a:solidFill>
                          <a:srgbClr val="231F20"/>
                        </a:solidFill>
                        <a:latin typeface="+mn-lt"/>
                      </a:endParaRPr>
                    </a:p>
                  </a:txBody>
                  <a:tcPr marL="18288" marR="18288" marT="18288" marB="18288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 algn="l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Char char="-"/>
                      </a:pPr>
                      <a:endParaRPr lang="en-US" sz="900" b="0" i="1" u="none" dirty="0">
                        <a:solidFill>
                          <a:srgbClr val="1B365F"/>
                        </a:solidFill>
                        <a:latin typeface="+mn-lt"/>
                      </a:endParaRPr>
                    </a:p>
                  </a:txBody>
                  <a:tcPr marL="18288" marR="18288" marT="18288" marB="18288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7954274"/>
                  </a:ext>
                </a:extLst>
              </a:tr>
              <a:tr h="600822">
                <a:tc>
                  <a:txBody>
                    <a:bodyPr/>
                    <a:lstStyle/>
                    <a:p>
                      <a:pPr marL="0" indent="0" algn="l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dirty="0">
                        <a:solidFill>
                          <a:srgbClr val="231F20"/>
                        </a:solidFill>
                        <a:latin typeface="+mn-lt"/>
                      </a:endParaRPr>
                    </a:p>
                  </a:txBody>
                  <a:tcPr marL="18288" marR="18288" marT="18288" marB="18288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0" i="0" u="none">
                        <a:solidFill>
                          <a:srgbClr val="231F20"/>
                        </a:solidFill>
                        <a:latin typeface="+mn-lt"/>
                      </a:endParaRPr>
                    </a:p>
                  </a:txBody>
                  <a:tcPr marL="18288" marR="18288" marT="18288" marB="18288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0" i="0" u="none">
                        <a:solidFill>
                          <a:srgbClr val="231F20"/>
                        </a:solidFill>
                        <a:latin typeface="+mn-lt"/>
                      </a:endParaRPr>
                    </a:p>
                  </a:txBody>
                  <a:tcPr marL="18288" marR="18288" marT="18288" marB="18288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0" i="0" u="none">
                        <a:solidFill>
                          <a:srgbClr val="231F20"/>
                        </a:solidFill>
                        <a:latin typeface="+mn-lt"/>
                      </a:endParaRPr>
                    </a:p>
                  </a:txBody>
                  <a:tcPr marL="18288" marR="18288" marT="18288" marB="18288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0" i="0" u="none" dirty="0">
                        <a:solidFill>
                          <a:srgbClr val="231F20"/>
                        </a:solidFill>
                        <a:latin typeface="+mn-lt"/>
                      </a:endParaRPr>
                    </a:p>
                  </a:txBody>
                  <a:tcPr marL="18288" marR="18288" marT="18288" marB="18288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 algn="l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Char char="-"/>
                      </a:pPr>
                      <a:endParaRPr lang="en-US" sz="900" b="0" i="1" u="none" dirty="0">
                        <a:solidFill>
                          <a:srgbClr val="1B365F"/>
                        </a:solidFill>
                        <a:latin typeface="+mn-lt"/>
                      </a:endParaRPr>
                    </a:p>
                  </a:txBody>
                  <a:tcPr marL="18288" marR="18288" marT="18288" marB="18288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00822">
                <a:tc>
                  <a:txBody>
                    <a:bodyPr/>
                    <a:lstStyle/>
                    <a:p>
                      <a:pPr marL="0" indent="0" algn="l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dirty="0">
                        <a:solidFill>
                          <a:srgbClr val="231F20"/>
                        </a:solidFill>
                        <a:latin typeface="+mn-lt"/>
                      </a:endParaRPr>
                    </a:p>
                  </a:txBody>
                  <a:tcPr marL="18288" marR="18288" marT="18288" marB="18288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0" i="0" u="none">
                        <a:solidFill>
                          <a:srgbClr val="231F20"/>
                        </a:solidFill>
                        <a:latin typeface="+mn-lt"/>
                      </a:endParaRPr>
                    </a:p>
                  </a:txBody>
                  <a:tcPr marL="18288" marR="18288" marT="18288" marB="18288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0" i="0" u="none">
                        <a:solidFill>
                          <a:srgbClr val="231F20"/>
                        </a:solidFill>
                        <a:latin typeface="+mn-lt"/>
                      </a:endParaRPr>
                    </a:p>
                  </a:txBody>
                  <a:tcPr marL="18288" marR="18288" marT="18288" marB="18288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0" i="0" u="none">
                        <a:solidFill>
                          <a:srgbClr val="231F20"/>
                        </a:solidFill>
                        <a:latin typeface="+mn-lt"/>
                      </a:endParaRPr>
                    </a:p>
                  </a:txBody>
                  <a:tcPr marL="18288" marR="18288" marT="18288" marB="18288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0" i="0" u="none">
                        <a:solidFill>
                          <a:srgbClr val="231F20"/>
                        </a:solidFill>
                        <a:latin typeface="+mn-lt"/>
                      </a:endParaRPr>
                    </a:p>
                  </a:txBody>
                  <a:tcPr marL="18288" marR="18288" marT="18288" marB="18288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 algn="l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Char char="-"/>
                      </a:pPr>
                      <a:endParaRPr lang="en-US" sz="900" b="0" i="1" u="none" dirty="0">
                        <a:solidFill>
                          <a:srgbClr val="1B365F"/>
                        </a:solidFill>
                        <a:latin typeface="+mn-lt"/>
                      </a:endParaRPr>
                    </a:p>
                  </a:txBody>
                  <a:tcPr marL="18288" marR="18288" marT="18288" marB="18288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18104706"/>
                  </a:ext>
                </a:extLst>
              </a:tr>
            </a:tbl>
          </a:graphicData>
        </a:graphic>
      </p:graphicFrame>
      <p:cxnSp>
        <p:nvCxnSpPr>
          <p:cNvPr id="71" name="Straight Arrow Connector 70">
            <a:extLst>
              <a:ext uri="{FF2B5EF4-FFF2-40B4-BE49-F238E27FC236}">
                <a16:creationId xmlns:a16="http://schemas.microsoft.com/office/drawing/2014/main" id="{E4E5C56B-43FD-19AB-9A38-A6A130F84CFE}"/>
              </a:ext>
            </a:extLst>
          </p:cNvPr>
          <p:cNvCxnSpPr/>
          <p:nvPr/>
        </p:nvCxnSpPr>
        <p:spPr>
          <a:xfrm>
            <a:off x="6851447" y="5678650"/>
            <a:ext cx="4178994" cy="0"/>
          </a:xfrm>
          <a:prstGeom prst="straightConnector1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Arrow Connector 71">
            <a:extLst>
              <a:ext uri="{FF2B5EF4-FFF2-40B4-BE49-F238E27FC236}">
                <a16:creationId xmlns:a16="http://schemas.microsoft.com/office/drawing/2014/main" id="{18C62A87-2DB1-0257-84BE-8E87A44894FC}"/>
              </a:ext>
            </a:extLst>
          </p:cNvPr>
          <p:cNvCxnSpPr>
            <a:cxnSpLocks/>
          </p:cNvCxnSpPr>
          <p:nvPr/>
        </p:nvCxnSpPr>
        <p:spPr>
          <a:xfrm flipV="1">
            <a:off x="6851447" y="2563661"/>
            <a:ext cx="0" cy="3114989"/>
          </a:xfrm>
          <a:prstGeom prst="straightConnector1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TextBox 72">
            <a:extLst>
              <a:ext uri="{FF2B5EF4-FFF2-40B4-BE49-F238E27FC236}">
                <a16:creationId xmlns:a16="http://schemas.microsoft.com/office/drawing/2014/main" id="{F14E2CDF-D6C2-F5E1-2597-FA5CE0E60E3E}"/>
              </a:ext>
            </a:extLst>
          </p:cNvPr>
          <p:cNvSpPr txBox="1"/>
          <p:nvPr/>
        </p:nvSpPr>
        <p:spPr>
          <a:xfrm>
            <a:off x="8098091" y="5838826"/>
            <a:ext cx="1623204" cy="42946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B365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Need &amp; Impact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FCCBA77E-A9B0-C326-29C3-BE3935F35CD5}"/>
              </a:ext>
            </a:extLst>
          </p:cNvPr>
          <p:cNvSpPr txBox="1"/>
          <p:nvPr/>
        </p:nvSpPr>
        <p:spPr>
          <a:xfrm>
            <a:off x="5618740" y="4298411"/>
            <a:ext cx="1215862" cy="42946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B365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Fit &amp; Feasibility</a:t>
            </a:r>
          </a:p>
        </p:txBody>
      </p: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96908309-93FB-8770-8A6B-9AF32EA96D95}"/>
              </a:ext>
            </a:extLst>
          </p:cNvPr>
          <p:cNvCxnSpPr>
            <a:cxnSpLocks/>
          </p:cNvCxnSpPr>
          <p:nvPr/>
        </p:nvCxnSpPr>
        <p:spPr>
          <a:xfrm>
            <a:off x="8797557" y="2765022"/>
            <a:ext cx="0" cy="2913627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6BCF9F6D-2AF0-C910-8ABD-345F0275475B}"/>
              </a:ext>
            </a:extLst>
          </p:cNvPr>
          <p:cNvCxnSpPr>
            <a:cxnSpLocks/>
          </p:cNvCxnSpPr>
          <p:nvPr/>
        </p:nvCxnSpPr>
        <p:spPr>
          <a:xfrm>
            <a:off x="6851447" y="4302932"/>
            <a:ext cx="4917842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Right Triangle 76">
            <a:extLst>
              <a:ext uri="{FF2B5EF4-FFF2-40B4-BE49-F238E27FC236}">
                <a16:creationId xmlns:a16="http://schemas.microsoft.com/office/drawing/2014/main" id="{32D4E834-75E1-DD5C-F10A-ECCACB28D95C}"/>
              </a:ext>
            </a:extLst>
          </p:cNvPr>
          <p:cNvSpPr/>
          <p:nvPr/>
        </p:nvSpPr>
        <p:spPr>
          <a:xfrm flipH="1" flipV="1">
            <a:off x="6538181" y="2893771"/>
            <a:ext cx="179002" cy="2784879"/>
          </a:xfrm>
          <a:prstGeom prst="rtTriangle">
            <a:avLst/>
          </a:prstGeom>
          <a:solidFill>
            <a:srgbClr val="C8C8C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A24F6040-5077-7F23-93E2-3EF669F1B971}"/>
              </a:ext>
            </a:extLst>
          </p:cNvPr>
          <p:cNvSpPr txBox="1"/>
          <p:nvPr/>
        </p:nvSpPr>
        <p:spPr>
          <a:xfrm>
            <a:off x="5759283" y="2679040"/>
            <a:ext cx="1000458" cy="42946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High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EA762209-AF5C-3FDF-FB6E-74DF9C302EA3}"/>
              </a:ext>
            </a:extLst>
          </p:cNvPr>
          <p:cNvSpPr txBox="1"/>
          <p:nvPr/>
        </p:nvSpPr>
        <p:spPr>
          <a:xfrm>
            <a:off x="5919291" y="5345993"/>
            <a:ext cx="1000458" cy="42946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Low</a:t>
            </a:r>
          </a:p>
        </p:txBody>
      </p:sp>
      <p:sp>
        <p:nvSpPr>
          <p:cNvPr id="80" name="Right Triangle 79">
            <a:extLst>
              <a:ext uri="{FF2B5EF4-FFF2-40B4-BE49-F238E27FC236}">
                <a16:creationId xmlns:a16="http://schemas.microsoft.com/office/drawing/2014/main" id="{33CC3DE7-41FF-8B92-DF0C-48FCD71728E6}"/>
              </a:ext>
            </a:extLst>
          </p:cNvPr>
          <p:cNvSpPr/>
          <p:nvPr/>
        </p:nvSpPr>
        <p:spPr>
          <a:xfrm flipH="1" flipV="1">
            <a:off x="6919747" y="5773552"/>
            <a:ext cx="3979895" cy="130549"/>
          </a:xfrm>
          <a:prstGeom prst="rtTriangle">
            <a:avLst/>
          </a:prstGeom>
          <a:solidFill>
            <a:srgbClr val="C8C8C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E097E18A-3A12-E25A-AAB0-013DAF9A8797}"/>
              </a:ext>
            </a:extLst>
          </p:cNvPr>
          <p:cNvSpPr txBox="1"/>
          <p:nvPr/>
        </p:nvSpPr>
        <p:spPr>
          <a:xfrm>
            <a:off x="10530212" y="5898071"/>
            <a:ext cx="500229" cy="228803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High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2D390F46-768C-2984-C2CF-E3514264C7A7}"/>
              </a:ext>
            </a:extLst>
          </p:cNvPr>
          <p:cNvSpPr txBox="1"/>
          <p:nvPr/>
        </p:nvSpPr>
        <p:spPr>
          <a:xfrm>
            <a:off x="6600058" y="5639632"/>
            <a:ext cx="1000458" cy="42946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Low</a:t>
            </a:r>
          </a:p>
        </p:txBody>
      </p:sp>
      <p:grpSp>
        <p:nvGrpSpPr>
          <p:cNvPr id="154" name="Group 153">
            <a:extLst>
              <a:ext uri="{FF2B5EF4-FFF2-40B4-BE49-F238E27FC236}">
                <a16:creationId xmlns:a16="http://schemas.microsoft.com/office/drawing/2014/main" id="{704F3AB7-5D38-2E97-9DA3-AD094292B041}"/>
              </a:ext>
            </a:extLst>
          </p:cNvPr>
          <p:cNvGrpSpPr/>
          <p:nvPr/>
        </p:nvGrpSpPr>
        <p:grpSpPr>
          <a:xfrm>
            <a:off x="5324337" y="2614665"/>
            <a:ext cx="260245" cy="3459734"/>
            <a:chOff x="5324337" y="2614665"/>
            <a:chExt cx="260245" cy="3459734"/>
          </a:xfrm>
        </p:grpSpPr>
        <p:cxnSp>
          <p:nvCxnSpPr>
            <p:cNvPr id="91" name="Straight Connector 90">
              <a:extLst>
                <a:ext uri="{FF2B5EF4-FFF2-40B4-BE49-F238E27FC236}">
                  <a16:creationId xmlns:a16="http://schemas.microsoft.com/office/drawing/2014/main" id="{2730B553-2A7C-B300-9C16-1E28EA36B599}"/>
                </a:ext>
              </a:extLst>
            </p:cNvPr>
            <p:cNvCxnSpPr>
              <a:cxnSpLocks/>
            </p:cNvCxnSpPr>
            <p:nvPr/>
          </p:nvCxnSpPr>
          <p:spPr>
            <a:xfrm>
              <a:off x="5454459" y="2614665"/>
              <a:ext cx="0" cy="3459734"/>
            </a:xfrm>
            <a:prstGeom prst="line">
              <a:avLst/>
            </a:prstGeom>
            <a:ln w="8096" cap="rnd">
              <a:solidFill>
                <a:srgbClr val="9A9A9A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2" name="Group 91">
              <a:extLst>
                <a:ext uri="{FF2B5EF4-FFF2-40B4-BE49-F238E27FC236}">
                  <a16:creationId xmlns:a16="http://schemas.microsoft.com/office/drawing/2014/main" id="{ACAAA76E-AAEF-6C92-1B5B-B189A9A535CF}"/>
                </a:ext>
              </a:extLst>
            </p:cNvPr>
            <p:cNvGrpSpPr/>
            <p:nvPr/>
          </p:nvGrpSpPr>
          <p:grpSpPr>
            <a:xfrm>
              <a:off x="5324337" y="4214095"/>
              <a:ext cx="260245" cy="260873"/>
              <a:chOff x="5937564" y="3833745"/>
              <a:chExt cx="306171" cy="306910"/>
            </a:xfrm>
          </p:grpSpPr>
          <p:sp>
            <p:nvSpPr>
              <p:cNvPr id="93" name="Freeform 94">
                <a:extLst>
                  <a:ext uri="{FF2B5EF4-FFF2-40B4-BE49-F238E27FC236}">
                    <a16:creationId xmlns:a16="http://schemas.microsoft.com/office/drawing/2014/main" id="{63669FEE-56F5-61FA-DD8F-F004E30377B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37564" y="3833745"/>
                <a:ext cx="306171" cy="306910"/>
              </a:xfrm>
              <a:custGeom>
                <a:avLst/>
                <a:gdLst>
                  <a:gd name="T0" fmla="*/ 0 w 1052"/>
                  <a:gd name="T1" fmla="*/ 526 h 1052"/>
                  <a:gd name="T2" fmla="*/ 0 w 1052"/>
                  <a:gd name="T3" fmla="*/ 526 h 1052"/>
                  <a:gd name="T4" fmla="*/ 526 w 1052"/>
                  <a:gd name="T5" fmla="*/ 0 h 1052"/>
                  <a:gd name="T6" fmla="*/ 1052 w 1052"/>
                  <a:gd name="T7" fmla="*/ 526 h 1052"/>
                  <a:gd name="T8" fmla="*/ 1052 w 1052"/>
                  <a:gd name="T9" fmla="*/ 526 h 1052"/>
                  <a:gd name="T10" fmla="*/ 526 w 1052"/>
                  <a:gd name="T11" fmla="*/ 1052 h 1052"/>
                  <a:gd name="T12" fmla="*/ 526 w 1052"/>
                  <a:gd name="T13" fmla="*/ 1052 h 1052"/>
                  <a:gd name="T14" fmla="*/ 0 w 1052"/>
                  <a:gd name="T15" fmla="*/ 526 h 10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52" h="1052">
                    <a:moveTo>
                      <a:pt x="0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236"/>
                      <a:pt x="236" y="0"/>
                      <a:pt x="526" y="0"/>
                    </a:cubicBezTo>
                    <a:cubicBezTo>
                      <a:pt x="817" y="0"/>
                      <a:pt x="1052" y="236"/>
                      <a:pt x="1052" y="526"/>
                    </a:cubicBezTo>
                    <a:cubicBezTo>
                      <a:pt x="1052" y="526"/>
                      <a:pt x="1052" y="526"/>
                      <a:pt x="1052" y="526"/>
                    </a:cubicBezTo>
                    <a:cubicBezTo>
                      <a:pt x="1052" y="817"/>
                      <a:pt x="817" y="1052"/>
                      <a:pt x="526" y="1052"/>
                    </a:cubicBezTo>
                    <a:cubicBezTo>
                      <a:pt x="526" y="1052"/>
                      <a:pt x="526" y="1052"/>
                      <a:pt x="526" y="1052"/>
                    </a:cubicBezTo>
                    <a:cubicBezTo>
                      <a:pt x="236" y="1052"/>
                      <a:pt x="0" y="817"/>
                      <a:pt x="0" y="526"/>
                    </a:cubicBezTo>
                    <a:close/>
                  </a:path>
                </a:pathLst>
              </a:custGeom>
              <a:solidFill>
                <a:srgbClr val="1B365F"/>
              </a:solidFill>
              <a:ln w="8096">
                <a:solidFill>
                  <a:srgbClr val="1B365F"/>
                </a:solidFill>
              </a:ln>
            </p:spPr>
            <p:txBody>
              <a:bodyPr vert="horz" wrap="square" lIns="75345" tIns="37673" rIns="75345" bIns="3767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srgbClr val="6E6F73"/>
                  </a:solidFill>
                </a:endParaRPr>
              </a:p>
            </p:txBody>
          </p:sp>
          <p:sp>
            <p:nvSpPr>
              <p:cNvPr id="94" name="Freeform 95">
                <a:extLst>
                  <a:ext uri="{FF2B5EF4-FFF2-40B4-BE49-F238E27FC236}">
                    <a16:creationId xmlns:a16="http://schemas.microsoft.com/office/drawing/2014/main" id="{66F0862A-F323-02DD-3288-580CE5334CE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53995" y="3876005"/>
                <a:ext cx="120251" cy="224731"/>
              </a:xfrm>
              <a:custGeom>
                <a:avLst/>
                <a:gdLst>
                  <a:gd name="T0" fmla="*/ 66 w 976"/>
                  <a:gd name="T1" fmla="*/ 1824 h 1824"/>
                  <a:gd name="T2" fmla="*/ 0 w 976"/>
                  <a:gd name="T3" fmla="*/ 1758 h 1824"/>
                  <a:gd name="T4" fmla="*/ 843 w 976"/>
                  <a:gd name="T5" fmla="*/ 912 h 1824"/>
                  <a:gd name="T6" fmla="*/ 0 w 976"/>
                  <a:gd name="T7" fmla="*/ 66 h 1824"/>
                  <a:gd name="T8" fmla="*/ 66 w 976"/>
                  <a:gd name="T9" fmla="*/ 0 h 1824"/>
                  <a:gd name="T10" fmla="*/ 976 w 976"/>
                  <a:gd name="T11" fmla="*/ 912 h 1824"/>
                  <a:gd name="T12" fmla="*/ 66 w 976"/>
                  <a:gd name="T13" fmla="*/ 1824 h 18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76" h="1824">
                    <a:moveTo>
                      <a:pt x="66" y="1824"/>
                    </a:moveTo>
                    <a:lnTo>
                      <a:pt x="0" y="1758"/>
                    </a:lnTo>
                    <a:lnTo>
                      <a:pt x="843" y="912"/>
                    </a:lnTo>
                    <a:lnTo>
                      <a:pt x="0" y="66"/>
                    </a:lnTo>
                    <a:lnTo>
                      <a:pt x="66" y="0"/>
                    </a:lnTo>
                    <a:lnTo>
                      <a:pt x="976" y="912"/>
                    </a:lnTo>
                    <a:lnTo>
                      <a:pt x="66" y="18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5345" tIns="37673" rIns="75345" bIns="3767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srgbClr val="6E6F73"/>
                  </a:solidFill>
                </a:endParaRPr>
              </a:p>
            </p:txBody>
          </p:sp>
        </p:grpSp>
      </p:grpSp>
      <p:sp>
        <p:nvSpPr>
          <p:cNvPr id="4" name="Oval 3">
            <a:extLst>
              <a:ext uri="{FF2B5EF4-FFF2-40B4-BE49-F238E27FC236}">
                <a16:creationId xmlns:a16="http://schemas.microsoft.com/office/drawing/2014/main" id="{57E119E2-B1AB-BE78-02E6-F4F5444E9FED}"/>
              </a:ext>
            </a:extLst>
          </p:cNvPr>
          <p:cNvSpPr/>
          <p:nvPr/>
        </p:nvSpPr>
        <p:spPr>
          <a:xfrm>
            <a:off x="9637172" y="2862640"/>
            <a:ext cx="157138" cy="160104"/>
          </a:xfrm>
          <a:prstGeom prst="ellipse">
            <a:avLst/>
          </a:prstGeom>
          <a:solidFill>
            <a:srgbClr val="779A44"/>
          </a:solidFill>
          <a:ln w="12700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231F20"/>
              </a:solidFill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2D60B864-2678-0CC9-B1B7-D24706D785FF}"/>
              </a:ext>
            </a:extLst>
          </p:cNvPr>
          <p:cNvSpPr/>
          <p:nvPr/>
        </p:nvSpPr>
        <p:spPr>
          <a:xfrm>
            <a:off x="9246290" y="3052229"/>
            <a:ext cx="996793" cy="33958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50" i="1" dirty="0">
                <a:solidFill>
                  <a:srgbClr val="575757"/>
                </a:solidFill>
              </a:rPr>
              <a:t>Oppty 2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81EBB74E-F1DC-AD92-AED2-E550646E7F62}"/>
              </a:ext>
            </a:extLst>
          </p:cNvPr>
          <p:cNvSpPr/>
          <p:nvPr/>
        </p:nvSpPr>
        <p:spPr>
          <a:xfrm>
            <a:off x="9188381" y="3278265"/>
            <a:ext cx="157138" cy="160104"/>
          </a:xfrm>
          <a:prstGeom prst="ellipse">
            <a:avLst/>
          </a:prstGeom>
          <a:solidFill>
            <a:srgbClr val="779A44"/>
          </a:solidFill>
          <a:ln w="12700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231F20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6F36A62C-722E-CE67-515F-F2DB2E8B960A}"/>
              </a:ext>
            </a:extLst>
          </p:cNvPr>
          <p:cNvSpPr/>
          <p:nvPr/>
        </p:nvSpPr>
        <p:spPr>
          <a:xfrm>
            <a:off x="8797517" y="3449357"/>
            <a:ext cx="996793" cy="33958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50" i="1" dirty="0">
                <a:solidFill>
                  <a:srgbClr val="575757"/>
                </a:solidFill>
              </a:rPr>
              <a:t>Oppty 3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989B00F4-EB66-96B5-A325-0D9E63A38111}"/>
              </a:ext>
            </a:extLst>
          </p:cNvPr>
          <p:cNvSpPr/>
          <p:nvPr/>
        </p:nvSpPr>
        <p:spPr>
          <a:xfrm>
            <a:off x="9877151" y="4211547"/>
            <a:ext cx="157138" cy="160104"/>
          </a:xfrm>
          <a:prstGeom prst="ellipse">
            <a:avLst/>
          </a:prstGeom>
          <a:solidFill>
            <a:srgbClr val="779A44"/>
          </a:solidFill>
          <a:ln w="12700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231F20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0B8A5FD9-30E4-1E84-6157-209A8920CCAB}"/>
              </a:ext>
            </a:extLst>
          </p:cNvPr>
          <p:cNvSpPr/>
          <p:nvPr/>
        </p:nvSpPr>
        <p:spPr>
          <a:xfrm>
            <a:off x="9916547" y="4198655"/>
            <a:ext cx="667875" cy="52222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50" i="1" dirty="0">
                <a:solidFill>
                  <a:srgbClr val="575757"/>
                </a:solidFill>
              </a:rPr>
              <a:t>Oppty 4</a:t>
            </a: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A406B7FF-C374-73CF-DB2E-24083ACF552C}"/>
              </a:ext>
            </a:extLst>
          </p:cNvPr>
          <p:cNvSpPr/>
          <p:nvPr/>
        </p:nvSpPr>
        <p:spPr>
          <a:xfrm>
            <a:off x="7894051" y="4808755"/>
            <a:ext cx="157138" cy="160104"/>
          </a:xfrm>
          <a:prstGeom prst="ellipse">
            <a:avLst/>
          </a:prstGeom>
          <a:solidFill>
            <a:srgbClr val="FEC00F"/>
          </a:solidFill>
          <a:ln w="12700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231F20"/>
              </a:solidFill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09609F5B-901F-B05D-D5DA-138330A043C0}"/>
              </a:ext>
            </a:extLst>
          </p:cNvPr>
          <p:cNvSpPr/>
          <p:nvPr/>
        </p:nvSpPr>
        <p:spPr>
          <a:xfrm>
            <a:off x="7474223" y="4936034"/>
            <a:ext cx="996793" cy="33958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50" i="1" dirty="0">
                <a:solidFill>
                  <a:srgbClr val="575757"/>
                </a:solidFill>
              </a:rPr>
              <a:t>Oppty 6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77E63FE-8A90-9DA4-8A86-60CE97E64D0E}"/>
              </a:ext>
            </a:extLst>
          </p:cNvPr>
          <p:cNvSpPr/>
          <p:nvPr/>
        </p:nvSpPr>
        <p:spPr>
          <a:xfrm>
            <a:off x="7028758" y="2400402"/>
            <a:ext cx="1345392" cy="588924"/>
          </a:xfrm>
          <a:prstGeom prst="rect">
            <a:avLst/>
          </a:prstGeom>
          <a:solidFill>
            <a:sysClr val="window" lastClr="FFFFFF"/>
          </a:solidFill>
          <a:ln w="9525" cap="rnd" cmpd="sng" algn="ctr">
            <a:solidFill>
              <a:srgbClr val="1B365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 anchorCtr="0"/>
          <a:lstStyle/>
          <a:p>
            <a:pPr algn="ctr"/>
            <a:r>
              <a:rPr lang="en-US" sz="1000" i="1" dirty="0">
                <a:solidFill>
                  <a:srgbClr val="1B365F"/>
                </a:solidFill>
              </a:rPr>
              <a:t>e.g., High-priority areas to plan engagement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E4E0911C-831E-B282-B4B2-DB60F9E7D5D3}"/>
              </a:ext>
            </a:extLst>
          </p:cNvPr>
          <p:cNvCxnSpPr>
            <a:cxnSpLocks/>
            <a:endCxn id="14" idx="3"/>
          </p:cNvCxnSpPr>
          <p:nvPr/>
        </p:nvCxnSpPr>
        <p:spPr>
          <a:xfrm flipH="1" flipV="1">
            <a:off x="8374150" y="2694864"/>
            <a:ext cx="1150302" cy="198907"/>
          </a:xfrm>
          <a:prstGeom prst="line">
            <a:avLst/>
          </a:prstGeom>
          <a:noFill/>
          <a:ln w="6350" cap="rnd" cmpd="sng" algn="ctr">
            <a:solidFill>
              <a:srgbClr val="1B365F"/>
            </a:solidFill>
            <a:prstDash val="solid"/>
            <a:round/>
            <a:headEnd type="oval" w="med" len="med"/>
            <a:tailEnd type="none" w="sm" len="sm"/>
          </a:ln>
          <a:effectLst/>
        </p:spPr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9FB24381-8172-437B-B66B-543918DCB411}"/>
              </a:ext>
            </a:extLst>
          </p:cNvPr>
          <p:cNvCxnSpPr>
            <a:cxnSpLocks/>
            <a:endCxn id="14" idx="3"/>
          </p:cNvCxnSpPr>
          <p:nvPr/>
        </p:nvCxnSpPr>
        <p:spPr>
          <a:xfrm flipH="1" flipV="1">
            <a:off x="8374150" y="2694864"/>
            <a:ext cx="741273" cy="522228"/>
          </a:xfrm>
          <a:prstGeom prst="line">
            <a:avLst/>
          </a:prstGeom>
          <a:noFill/>
          <a:ln w="6350" cap="rnd" cmpd="sng" algn="ctr">
            <a:solidFill>
              <a:srgbClr val="1B365F"/>
            </a:solidFill>
            <a:prstDash val="solid"/>
            <a:round/>
            <a:headEnd type="oval" w="med" len="med"/>
            <a:tailEnd type="none" w="sm" len="sm"/>
          </a:ln>
          <a:effectLst/>
        </p:spPr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8FA45644-4144-2335-C329-A6717BFBA5D1}"/>
              </a:ext>
            </a:extLst>
          </p:cNvPr>
          <p:cNvCxnSpPr>
            <a:cxnSpLocks/>
            <a:endCxn id="14" idx="3"/>
          </p:cNvCxnSpPr>
          <p:nvPr/>
        </p:nvCxnSpPr>
        <p:spPr>
          <a:xfrm flipH="1" flipV="1">
            <a:off x="8374150" y="2694864"/>
            <a:ext cx="1579474" cy="160104"/>
          </a:xfrm>
          <a:prstGeom prst="line">
            <a:avLst/>
          </a:prstGeom>
          <a:noFill/>
          <a:ln w="6350" cap="rnd" cmpd="sng" algn="ctr">
            <a:solidFill>
              <a:srgbClr val="1B365F"/>
            </a:solidFill>
            <a:prstDash val="solid"/>
            <a:round/>
            <a:headEnd type="oval" w="med" len="med"/>
            <a:tailEnd type="none" w="sm" len="sm"/>
          </a:ln>
          <a:effectLst/>
        </p:spPr>
      </p:cxnSp>
      <p:sp>
        <p:nvSpPr>
          <p:cNvPr id="44" name="Title 28">
            <a:extLst>
              <a:ext uri="{FF2B5EF4-FFF2-40B4-BE49-F238E27FC236}">
                <a16:creationId xmlns:a16="http://schemas.microsoft.com/office/drawing/2014/main" id="{11217A34-A8CD-8627-A090-98B946C3AC5C}"/>
              </a:ext>
            </a:extLst>
          </p:cNvPr>
          <p:cNvSpPr txBox="1">
            <a:spLocks/>
          </p:cNvSpPr>
          <p:nvPr/>
        </p:nvSpPr>
        <p:spPr>
          <a:xfrm>
            <a:off x="602501" y="1485359"/>
            <a:ext cx="4530542" cy="4985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1800" dirty="0">
                <a:solidFill>
                  <a:srgbClr val="1B365F"/>
                </a:solidFill>
              </a:rPr>
              <a:t>Criteria can be applied to a selection of new opportunities….</a:t>
            </a:r>
          </a:p>
        </p:txBody>
      </p:sp>
      <p:sp>
        <p:nvSpPr>
          <p:cNvPr id="45" name="Title 28">
            <a:extLst>
              <a:ext uri="{FF2B5EF4-FFF2-40B4-BE49-F238E27FC236}">
                <a16:creationId xmlns:a16="http://schemas.microsoft.com/office/drawing/2014/main" id="{D0CA9E60-BC0A-4E35-10F5-8024AFEBDA4B}"/>
              </a:ext>
            </a:extLst>
          </p:cNvPr>
          <p:cNvSpPr txBox="1">
            <a:spLocks/>
          </p:cNvSpPr>
          <p:nvPr/>
        </p:nvSpPr>
        <p:spPr>
          <a:xfrm>
            <a:off x="6381751" y="1485359"/>
            <a:ext cx="4870850" cy="4985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1800" dirty="0">
                <a:solidFill>
                  <a:srgbClr val="1B365F"/>
                </a:solidFill>
              </a:rPr>
              <a:t>…and support the Commission to define level of focus and effort across the portfolio</a:t>
            </a: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D3ED6AA3-5E1B-6295-E28F-B4CA6AAB6C6B}"/>
              </a:ext>
            </a:extLst>
          </p:cNvPr>
          <p:cNvGrpSpPr/>
          <p:nvPr/>
        </p:nvGrpSpPr>
        <p:grpSpPr>
          <a:xfrm>
            <a:off x="8186666" y="4574751"/>
            <a:ext cx="2645837" cy="816689"/>
            <a:chOff x="4298209" y="5011501"/>
            <a:chExt cx="2462840" cy="739161"/>
          </a:xfrm>
        </p:grpSpPr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267F73E0-CC2D-E33E-B1BC-5B1CA5B30AF3}"/>
                </a:ext>
              </a:extLst>
            </p:cNvPr>
            <p:cNvSpPr/>
            <p:nvPr/>
          </p:nvSpPr>
          <p:spPr>
            <a:xfrm>
              <a:off x="5257639" y="5217644"/>
              <a:ext cx="1503410" cy="533018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solidFill>
                <a:srgbClr val="1B365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 anchorCtr="0"/>
            <a:lstStyle/>
            <a:p>
              <a:pPr algn="ctr"/>
              <a:r>
                <a:rPr lang="en-US" sz="1000" i="1" dirty="0">
                  <a:solidFill>
                    <a:srgbClr val="1B365F"/>
                  </a:solidFill>
                </a:rPr>
                <a:t>e.g., Indication of potential areas to review or reduce focus</a:t>
              </a:r>
            </a:p>
          </p:txBody>
        </p: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76397192-3E35-241A-7DAA-39275F1C549B}"/>
                </a:ext>
              </a:extLst>
            </p:cNvPr>
            <p:cNvCxnSpPr>
              <a:cxnSpLocks/>
              <a:endCxn id="50" idx="1"/>
            </p:cNvCxnSpPr>
            <p:nvPr/>
          </p:nvCxnSpPr>
          <p:spPr>
            <a:xfrm>
              <a:off x="4298209" y="5310006"/>
              <a:ext cx="959430" cy="174147"/>
            </a:xfrm>
            <a:prstGeom prst="line">
              <a:avLst/>
            </a:prstGeom>
            <a:noFill/>
            <a:ln w="6350" cap="rnd" cmpd="sng" algn="ctr">
              <a:solidFill>
                <a:srgbClr val="1B365F"/>
              </a:solidFill>
              <a:prstDash val="solid"/>
              <a:round/>
              <a:headEnd type="oval" w="med" len="med"/>
              <a:tailEnd type="none" w="sm" len="sm"/>
            </a:ln>
            <a:effectLst/>
          </p:spPr>
        </p:cxn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54EA2547-8619-9F39-C841-0D5ED7A32D7D}"/>
                </a:ext>
              </a:extLst>
            </p:cNvPr>
            <p:cNvCxnSpPr>
              <a:cxnSpLocks/>
              <a:endCxn id="50" idx="1"/>
            </p:cNvCxnSpPr>
            <p:nvPr/>
          </p:nvCxnSpPr>
          <p:spPr>
            <a:xfrm>
              <a:off x="4802268" y="5011501"/>
              <a:ext cx="455371" cy="472652"/>
            </a:xfrm>
            <a:prstGeom prst="line">
              <a:avLst/>
            </a:prstGeom>
            <a:noFill/>
            <a:ln w="6350" cap="rnd" cmpd="sng" algn="ctr">
              <a:solidFill>
                <a:srgbClr val="1B365F"/>
              </a:solidFill>
              <a:prstDash val="solid"/>
              <a:round/>
              <a:headEnd type="oval" w="med" len="med"/>
              <a:tailEnd type="none" w="sm" len="sm"/>
            </a:ln>
            <a:effectLst/>
          </p:spPr>
        </p:cxnSp>
      </p:grpSp>
      <p:sp>
        <p:nvSpPr>
          <p:cNvPr id="59" name="Oval 58">
            <a:extLst>
              <a:ext uri="{FF2B5EF4-FFF2-40B4-BE49-F238E27FC236}">
                <a16:creationId xmlns:a16="http://schemas.microsoft.com/office/drawing/2014/main" id="{2F263186-AD02-8EEA-E56E-5A4B2B862ED9}"/>
              </a:ext>
            </a:extLst>
          </p:cNvPr>
          <p:cNvSpPr/>
          <p:nvPr/>
        </p:nvSpPr>
        <p:spPr>
          <a:xfrm>
            <a:off x="9997149" y="2862640"/>
            <a:ext cx="157138" cy="160104"/>
          </a:xfrm>
          <a:prstGeom prst="ellipse">
            <a:avLst/>
          </a:prstGeom>
          <a:solidFill>
            <a:srgbClr val="779A44"/>
          </a:solidFill>
          <a:ln w="12700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231F20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27453D33-0E57-501C-3718-AB5D50E230F9}"/>
              </a:ext>
            </a:extLst>
          </p:cNvPr>
          <p:cNvSpPr/>
          <p:nvPr/>
        </p:nvSpPr>
        <p:spPr>
          <a:xfrm>
            <a:off x="9986722" y="2861826"/>
            <a:ext cx="996793" cy="33958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50" i="1" dirty="0">
                <a:solidFill>
                  <a:srgbClr val="575757"/>
                </a:solidFill>
              </a:rPr>
              <a:t>Oppty 1</a:t>
            </a:r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F018AA24-B87B-622C-91E3-6EA3EDD662D1}"/>
              </a:ext>
            </a:extLst>
          </p:cNvPr>
          <p:cNvSpPr/>
          <p:nvPr/>
        </p:nvSpPr>
        <p:spPr>
          <a:xfrm>
            <a:off x="8523001" y="4405677"/>
            <a:ext cx="157138" cy="160104"/>
          </a:xfrm>
          <a:prstGeom prst="ellipse">
            <a:avLst/>
          </a:prstGeom>
          <a:solidFill>
            <a:srgbClr val="FEC00F"/>
          </a:solidFill>
          <a:ln w="12700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231F20"/>
              </a:solidFill>
            </a:endParaRP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EBF8A5DC-DDBA-3939-8142-19F7BB1A61BE}"/>
              </a:ext>
            </a:extLst>
          </p:cNvPr>
          <p:cNvSpPr/>
          <p:nvPr/>
        </p:nvSpPr>
        <p:spPr>
          <a:xfrm>
            <a:off x="7850001" y="4198274"/>
            <a:ext cx="724576" cy="52222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50" i="1" dirty="0">
                <a:solidFill>
                  <a:srgbClr val="575757"/>
                </a:solidFill>
              </a:rPr>
              <a:t>Oppty 5</a:t>
            </a: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0E866374-0776-F9F5-CF71-7FAB4CB54A5D}"/>
              </a:ext>
            </a:extLst>
          </p:cNvPr>
          <p:cNvSpPr/>
          <p:nvPr/>
        </p:nvSpPr>
        <p:spPr>
          <a:xfrm>
            <a:off x="10964323" y="2251237"/>
            <a:ext cx="776095" cy="33076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 dirty="0">
                <a:solidFill>
                  <a:srgbClr val="1B365F"/>
                </a:solidFill>
              </a:rPr>
              <a:t>Level of effort</a:t>
            </a:r>
          </a:p>
        </p:txBody>
      </p:sp>
      <p:grpSp>
        <p:nvGrpSpPr>
          <p:cNvPr id="151" name="Group 150">
            <a:extLst>
              <a:ext uri="{FF2B5EF4-FFF2-40B4-BE49-F238E27FC236}">
                <a16:creationId xmlns:a16="http://schemas.microsoft.com/office/drawing/2014/main" id="{E324C12B-0F20-C8BB-E1BD-184C511D2667}"/>
              </a:ext>
            </a:extLst>
          </p:cNvPr>
          <p:cNvGrpSpPr/>
          <p:nvPr/>
        </p:nvGrpSpPr>
        <p:grpSpPr>
          <a:xfrm>
            <a:off x="534750" y="2729779"/>
            <a:ext cx="3248720" cy="308400"/>
            <a:chOff x="534750" y="2777404"/>
            <a:chExt cx="3248720" cy="308400"/>
          </a:xfrm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60519F48-29A5-F380-0F5B-746730A0BB21}"/>
                </a:ext>
              </a:extLst>
            </p:cNvPr>
            <p:cNvSpPr/>
            <p:nvPr/>
          </p:nvSpPr>
          <p:spPr>
            <a:xfrm>
              <a:off x="1615857" y="2847593"/>
              <a:ext cx="182880" cy="182880"/>
            </a:xfrm>
            <a:prstGeom prst="ellipse">
              <a:avLst/>
            </a:prstGeom>
            <a:solidFill>
              <a:srgbClr val="779A44"/>
            </a:solidFill>
            <a:ln w="9525" cap="rnd" cmpd="sng" algn="ctr">
              <a:solidFill>
                <a:srgbClr val="779A4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112015A8-DC55-A249-095D-F5D08042EB51}"/>
                </a:ext>
              </a:extLst>
            </p:cNvPr>
            <p:cNvSpPr/>
            <p:nvPr/>
          </p:nvSpPr>
          <p:spPr>
            <a:xfrm>
              <a:off x="2309185" y="2847593"/>
              <a:ext cx="182880" cy="182880"/>
            </a:xfrm>
            <a:prstGeom prst="ellipse">
              <a:avLst/>
            </a:prstGeom>
            <a:solidFill>
              <a:srgbClr val="779A44"/>
            </a:solidFill>
            <a:ln w="9525" cap="rnd" cmpd="sng" algn="ctr">
              <a:solidFill>
                <a:srgbClr val="779A4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DC07DBD4-71DA-5B58-73FC-01BBCE6123AC}"/>
                </a:ext>
              </a:extLst>
            </p:cNvPr>
            <p:cNvSpPr/>
            <p:nvPr/>
          </p:nvSpPr>
          <p:spPr>
            <a:xfrm>
              <a:off x="2935838" y="2847593"/>
              <a:ext cx="182880" cy="182880"/>
            </a:xfrm>
            <a:prstGeom prst="ellipse">
              <a:avLst/>
            </a:prstGeom>
            <a:solidFill>
              <a:srgbClr val="779A44"/>
            </a:solidFill>
            <a:ln w="9525" cap="rnd" cmpd="sng" algn="ctr">
              <a:solidFill>
                <a:srgbClr val="779A4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C1B0813C-02FD-C89A-581C-DA2D8FA1FB1B}"/>
                </a:ext>
              </a:extLst>
            </p:cNvPr>
            <p:cNvSpPr/>
            <p:nvPr/>
          </p:nvSpPr>
          <p:spPr>
            <a:xfrm>
              <a:off x="3600590" y="2832736"/>
              <a:ext cx="182880" cy="182880"/>
            </a:xfrm>
            <a:prstGeom prst="ellipse">
              <a:avLst/>
            </a:prstGeom>
            <a:solidFill>
              <a:srgbClr val="779A44"/>
            </a:solidFill>
            <a:ln w="9525" cap="rnd" cmpd="sng" algn="ctr">
              <a:solidFill>
                <a:srgbClr val="779A4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90FA59DB-449C-2957-E816-289C4B638C9E}"/>
                </a:ext>
              </a:extLst>
            </p:cNvPr>
            <p:cNvSpPr/>
            <p:nvPr/>
          </p:nvSpPr>
          <p:spPr>
            <a:xfrm>
              <a:off x="534750" y="2777404"/>
              <a:ext cx="924668" cy="308400"/>
            </a:xfrm>
            <a:prstGeom prst="rect">
              <a:avLst/>
            </a:prstGeom>
            <a:solidFill>
              <a:srgbClr val="FFFFFF"/>
            </a:solidFill>
            <a:ln w="9525" cap="rnd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1200" b="1" dirty="0">
                  <a:solidFill>
                    <a:srgbClr val="1B365F"/>
                  </a:solidFill>
                </a:rPr>
                <a:t>Oppty 1</a:t>
              </a:r>
            </a:p>
          </p:txBody>
        </p:sp>
      </p:grpSp>
      <p:grpSp>
        <p:nvGrpSpPr>
          <p:cNvPr id="150" name="Group 149">
            <a:extLst>
              <a:ext uri="{FF2B5EF4-FFF2-40B4-BE49-F238E27FC236}">
                <a16:creationId xmlns:a16="http://schemas.microsoft.com/office/drawing/2014/main" id="{AC1FCCB2-7E52-4B07-FE42-5865AA864847}"/>
              </a:ext>
            </a:extLst>
          </p:cNvPr>
          <p:cNvGrpSpPr/>
          <p:nvPr/>
        </p:nvGrpSpPr>
        <p:grpSpPr>
          <a:xfrm>
            <a:off x="534750" y="3315092"/>
            <a:ext cx="3248720" cy="308400"/>
            <a:chOff x="534750" y="3458234"/>
            <a:chExt cx="3248720" cy="308400"/>
          </a:xfrm>
        </p:grpSpPr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62711454-734D-FCCB-761D-CCDE67B6A363}"/>
                </a:ext>
              </a:extLst>
            </p:cNvPr>
            <p:cNvSpPr/>
            <p:nvPr/>
          </p:nvSpPr>
          <p:spPr>
            <a:xfrm>
              <a:off x="1615857" y="3520994"/>
              <a:ext cx="182880" cy="182880"/>
            </a:xfrm>
            <a:prstGeom prst="ellipse">
              <a:avLst/>
            </a:prstGeom>
            <a:solidFill>
              <a:srgbClr val="779A44"/>
            </a:solidFill>
            <a:ln w="9525" cap="rnd" cmpd="sng" algn="ctr">
              <a:solidFill>
                <a:srgbClr val="779A4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2D758E0E-5BDA-1FF8-D89B-A19F1D231662}"/>
                </a:ext>
              </a:extLst>
            </p:cNvPr>
            <p:cNvSpPr/>
            <p:nvPr/>
          </p:nvSpPr>
          <p:spPr>
            <a:xfrm>
              <a:off x="2309185" y="3520994"/>
              <a:ext cx="182880" cy="182880"/>
            </a:xfrm>
            <a:prstGeom prst="ellipse">
              <a:avLst/>
            </a:prstGeom>
            <a:solidFill>
              <a:srgbClr val="779A44"/>
            </a:solidFill>
            <a:ln w="9525" cap="rnd" cmpd="sng" algn="ctr">
              <a:solidFill>
                <a:srgbClr val="779A4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C12E14EA-7659-7207-8462-5DC511B8E170}"/>
                </a:ext>
              </a:extLst>
            </p:cNvPr>
            <p:cNvSpPr/>
            <p:nvPr/>
          </p:nvSpPr>
          <p:spPr>
            <a:xfrm>
              <a:off x="2935838" y="3520994"/>
              <a:ext cx="182880" cy="182880"/>
            </a:xfrm>
            <a:prstGeom prst="ellipse">
              <a:avLst/>
            </a:prstGeom>
            <a:solidFill>
              <a:srgbClr val="FEC00F"/>
            </a:solidFill>
            <a:ln w="9525" cap="rnd" cmpd="sng" algn="ctr">
              <a:solidFill>
                <a:srgbClr val="FEC00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D2C34DE2-AFCC-7B5A-420B-6CE19E5FDD89}"/>
                </a:ext>
              </a:extLst>
            </p:cNvPr>
            <p:cNvSpPr/>
            <p:nvPr/>
          </p:nvSpPr>
          <p:spPr>
            <a:xfrm>
              <a:off x="3600590" y="3520994"/>
              <a:ext cx="182880" cy="182880"/>
            </a:xfrm>
            <a:prstGeom prst="ellipse">
              <a:avLst/>
            </a:prstGeom>
            <a:solidFill>
              <a:srgbClr val="779A44"/>
            </a:solidFill>
            <a:ln w="9525" cap="rnd" cmpd="sng" algn="ctr">
              <a:solidFill>
                <a:srgbClr val="779A4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14AD0328-3CB8-3216-19D6-1D9B010C7288}"/>
                </a:ext>
              </a:extLst>
            </p:cNvPr>
            <p:cNvSpPr/>
            <p:nvPr/>
          </p:nvSpPr>
          <p:spPr>
            <a:xfrm>
              <a:off x="534750" y="3458234"/>
              <a:ext cx="924668" cy="308400"/>
            </a:xfrm>
            <a:prstGeom prst="rect">
              <a:avLst/>
            </a:prstGeom>
            <a:solidFill>
              <a:srgbClr val="FFFFFF"/>
            </a:solidFill>
            <a:ln w="9525" cap="rnd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1200" b="1" dirty="0">
                  <a:solidFill>
                    <a:srgbClr val="1B365F"/>
                  </a:solidFill>
                </a:rPr>
                <a:t>Oppty 2</a:t>
              </a:r>
            </a:p>
          </p:txBody>
        </p:sp>
      </p:grpSp>
      <p:grpSp>
        <p:nvGrpSpPr>
          <p:cNvPr id="149" name="Group 148">
            <a:extLst>
              <a:ext uri="{FF2B5EF4-FFF2-40B4-BE49-F238E27FC236}">
                <a16:creationId xmlns:a16="http://schemas.microsoft.com/office/drawing/2014/main" id="{D022F2C6-C6D8-1A73-27A2-51EFD6C08212}"/>
              </a:ext>
            </a:extLst>
          </p:cNvPr>
          <p:cNvGrpSpPr/>
          <p:nvPr/>
        </p:nvGrpSpPr>
        <p:grpSpPr>
          <a:xfrm>
            <a:off x="534750" y="3900405"/>
            <a:ext cx="3248720" cy="308400"/>
            <a:chOff x="534750" y="4058002"/>
            <a:chExt cx="3248720" cy="308400"/>
          </a:xfrm>
        </p:grpSpPr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4C4DE225-616D-912A-42B0-72150CA34C2A}"/>
                </a:ext>
              </a:extLst>
            </p:cNvPr>
            <p:cNvSpPr/>
            <p:nvPr/>
          </p:nvSpPr>
          <p:spPr>
            <a:xfrm>
              <a:off x="1615857" y="4120762"/>
              <a:ext cx="182880" cy="182880"/>
            </a:xfrm>
            <a:prstGeom prst="ellipse">
              <a:avLst/>
            </a:prstGeom>
            <a:solidFill>
              <a:srgbClr val="779A44"/>
            </a:solidFill>
            <a:ln w="9525" cap="rnd" cmpd="sng" algn="ctr">
              <a:solidFill>
                <a:srgbClr val="779A4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A52CCB29-4187-CCD5-5599-92996387E0C5}"/>
                </a:ext>
              </a:extLst>
            </p:cNvPr>
            <p:cNvSpPr/>
            <p:nvPr/>
          </p:nvSpPr>
          <p:spPr>
            <a:xfrm>
              <a:off x="2309185" y="4120762"/>
              <a:ext cx="182880" cy="182880"/>
            </a:xfrm>
            <a:prstGeom prst="ellipse">
              <a:avLst/>
            </a:prstGeom>
            <a:solidFill>
              <a:srgbClr val="FEC00F"/>
            </a:solidFill>
            <a:ln w="9525" cap="rnd" cmpd="sng" algn="ctr">
              <a:solidFill>
                <a:srgbClr val="FEC00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23AAB8FF-4AA2-EF80-D73F-42227FE83F7A}"/>
                </a:ext>
              </a:extLst>
            </p:cNvPr>
            <p:cNvSpPr/>
            <p:nvPr/>
          </p:nvSpPr>
          <p:spPr>
            <a:xfrm>
              <a:off x="2935838" y="4120762"/>
              <a:ext cx="182880" cy="182880"/>
            </a:xfrm>
            <a:prstGeom prst="ellipse">
              <a:avLst/>
            </a:prstGeom>
            <a:solidFill>
              <a:srgbClr val="779A44"/>
            </a:solidFill>
            <a:ln w="9525" cap="rnd" cmpd="sng" algn="ctr">
              <a:solidFill>
                <a:srgbClr val="779A4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7E0BE9B6-5484-A9B2-6A11-509B8A649C30}"/>
                </a:ext>
              </a:extLst>
            </p:cNvPr>
            <p:cNvSpPr/>
            <p:nvPr/>
          </p:nvSpPr>
          <p:spPr>
            <a:xfrm>
              <a:off x="3600590" y="4120762"/>
              <a:ext cx="182880" cy="182880"/>
            </a:xfrm>
            <a:prstGeom prst="ellipse">
              <a:avLst/>
            </a:prstGeom>
            <a:solidFill>
              <a:srgbClr val="779A44"/>
            </a:solidFill>
            <a:ln w="9525" cap="rnd" cmpd="sng" algn="ctr">
              <a:solidFill>
                <a:srgbClr val="779A4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58B8C47F-A1B0-E088-3133-F5AFF6B3773B}"/>
                </a:ext>
              </a:extLst>
            </p:cNvPr>
            <p:cNvSpPr/>
            <p:nvPr/>
          </p:nvSpPr>
          <p:spPr>
            <a:xfrm>
              <a:off x="534750" y="4058002"/>
              <a:ext cx="924668" cy="308400"/>
            </a:xfrm>
            <a:prstGeom prst="rect">
              <a:avLst/>
            </a:prstGeom>
            <a:solidFill>
              <a:srgbClr val="FFFFFF"/>
            </a:solidFill>
            <a:ln w="9525" cap="rnd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1200" b="1" dirty="0">
                  <a:solidFill>
                    <a:srgbClr val="1B365F"/>
                  </a:solidFill>
                </a:rPr>
                <a:t>Oppty 3</a:t>
              </a:r>
            </a:p>
          </p:txBody>
        </p:sp>
      </p:grp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77B719EA-2906-FE25-365A-CDB31812F17E}"/>
              </a:ext>
            </a:extLst>
          </p:cNvPr>
          <p:cNvGrpSpPr/>
          <p:nvPr/>
        </p:nvGrpSpPr>
        <p:grpSpPr>
          <a:xfrm>
            <a:off x="534750" y="4485718"/>
            <a:ext cx="3243535" cy="308401"/>
            <a:chOff x="534750" y="4615423"/>
            <a:chExt cx="3243535" cy="308401"/>
          </a:xfrm>
        </p:grpSpPr>
        <p:sp>
          <p:nvSpPr>
            <p:cNvPr id="67" name="Oval 66">
              <a:extLst>
                <a:ext uri="{FF2B5EF4-FFF2-40B4-BE49-F238E27FC236}">
                  <a16:creationId xmlns:a16="http://schemas.microsoft.com/office/drawing/2014/main" id="{7F35FFE8-5D7E-9612-37B7-B0E1A829EE34}"/>
                </a:ext>
              </a:extLst>
            </p:cNvPr>
            <p:cNvSpPr/>
            <p:nvPr/>
          </p:nvSpPr>
          <p:spPr>
            <a:xfrm>
              <a:off x="1615857" y="4678183"/>
              <a:ext cx="182880" cy="182880"/>
            </a:xfrm>
            <a:prstGeom prst="ellipse">
              <a:avLst/>
            </a:prstGeom>
            <a:solidFill>
              <a:srgbClr val="779A44"/>
            </a:solidFill>
            <a:ln w="9525" cap="rnd" cmpd="sng" algn="ctr">
              <a:solidFill>
                <a:srgbClr val="779A4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68" name="Oval 67">
              <a:extLst>
                <a:ext uri="{FF2B5EF4-FFF2-40B4-BE49-F238E27FC236}">
                  <a16:creationId xmlns:a16="http://schemas.microsoft.com/office/drawing/2014/main" id="{A2376A0A-79D2-9B11-75B9-4C2FB5965344}"/>
                </a:ext>
              </a:extLst>
            </p:cNvPr>
            <p:cNvSpPr/>
            <p:nvPr/>
          </p:nvSpPr>
          <p:spPr>
            <a:xfrm>
              <a:off x="2309185" y="4678183"/>
              <a:ext cx="182880" cy="182880"/>
            </a:xfrm>
            <a:prstGeom prst="ellipse">
              <a:avLst/>
            </a:prstGeom>
            <a:solidFill>
              <a:srgbClr val="779A44"/>
            </a:solidFill>
            <a:ln w="9525" cap="rnd" cmpd="sng" algn="ctr">
              <a:solidFill>
                <a:srgbClr val="779A4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69" name="Oval 68">
              <a:extLst>
                <a:ext uri="{FF2B5EF4-FFF2-40B4-BE49-F238E27FC236}">
                  <a16:creationId xmlns:a16="http://schemas.microsoft.com/office/drawing/2014/main" id="{DF06E029-9B46-0818-5783-1B531CE7159A}"/>
                </a:ext>
              </a:extLst>
            </p:cNvPr>
            <p:cNvSpPr/>
            <p:nvPr/>
          </p:nvSpPr>
          <p:spPr>
            <a:xfrm>
              <a:off x="2935838" y="4678183"/>
              <a:ext cx="182880" cy="182880"/>
            </a:xfrm>
            <a:prstGeom prst="ellipse">
              <a:avLst/>
            </a:prstGeom>
            <a:solidFill>
              <a:srgbClr val="FEC00F"/>
            </a:solidFill>
            <a:ln w="9525" cap="rnd" cmpd="sng" algn="ctr">
              <a:solidFill>
                <a:srgbClr val="FEC00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83" name="Oval 82">
              <a:extLst>
                <a:ext uri="{FF2B5EF4-FFF2-40B4-BE49-F238E27FC236}">
                  <a16:creationId xmlns:a16="http://schemas.microsoft.com/office/drawing/2014/main" id="{00EF72BB-090F-766C-4EC1-D2F29545CBE0}"/>
                </a:ext>
              </a:extLst>
            </p:cNvPr>
            <p:cNvSpPr/>
            <p:nvPr/>
          </p:nvSpPr>
          <p:spPr>
            <a:xfrm>
              <a:off x="3595405" y="4678183"/>
              <a:ext cx="182880" cy="182880"/>
            </a:xfrm>
            <a:prstGeom prst="ellipse">
              <a:avLst/>
            </a:prstGeom>
            <a:solidFill>
              <a:srgbClr val="FEC00F"/>
            </a:solidFill>
            <a:ln w="9525" cap="rnd" cmpd="sng" algn="ctr">
              <a:solidFill>
                <a:srgbClr val="FEC00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18D35843-5316-7C78-C647-BBF594C9AD39}"/>
                </a:ext>
              </a:extLst>
            </p:cNvPr>
            <p:cNvSpPr/>
            <p:nvPr/>
          </p:nvSpPr>
          <p:spPr>
            <a:xfrm>
              <a:off x="534750" y="4615423"/>
              <a:ext cx="924668" cy="308401"/>
            </a:xfrm>
            <a:prstGeom prst="rect">
              <a:avLst/>
            </a:prstGeom>
            <a:solidFill>
              <a:srgbClr val="FFFFFF"/>
            </a:solidFill>
            <a:ln w="9525" cap="rnd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1200" b="1" dirty="0">
                  <a:solidFill>
                    <a:srgbClr val="1B365F"/>
                  </a:solidFill>
                </a:rPr>
                <a:t>Oppty 4</a:t>
              </a:r>
            </a:p>
          </p:txBody>
        </p:sp>
      </p:grpSp>
      <p:grpSp>
        <p:nvGrpSpPr>
          <p:cNvPr id="147" name="Group 146">
            <a:extLst>
              <a:ext uri="{FF2B5EF4-FFF2-40B4-BE49-F238E27FC236}">
                <a16:creationId xmlns:a16="http://schemas.microsoft.com/office/drawing/2014/main" id="{C31B2017-21C3-49D9-FCB7-A7A8CB017E2A}"/>
              </a:ext>
            </a:extLst>
          </p:cNvPr>
          <p:cNvGrpSpPr/>
          <p:nvPr/>
        </p:nvGrpSpPr>
        <p:grpSpPr>
          <a:xfrm>
            <a:off x="534750" y="5071032"/>
            <a:ext cx="3248720" cy="308400"/>
            <a:chOff x="534750" y="5209876"/>
            <a:chExt cx="3248720" cy="308400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3F08F827-2BF7-F8C0-B64C-1A24F1B91F0A}"/>
                </a:ext>
              </a:extLst>
            </p:cNvPr>
            <p:cNvSpPr/>
            <p:nvPr/>
          </p:nvSpPr>
          <p:spPr>
            <a:xfrm>
              <a:off x="1615857" y="5280065"/>
              <a:ext cx="182880" cy="182880"/>
            </a:xfrm>
            <a:prstGeom prst="ellipse">
              <a:avLst/>
            </a:prstGeom>
            <a:solidFill>
              <a:srgbClr val="FEC00F"/>
            </a:solidFill>
            <a:ln w="9525" cap="rnd" cmpd="sng" algn="ctr">
              <a:solidFill>
                <a:srgbClr val="FEC00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4F06FC05-29CE-DC8C-9334-1214E8C4AA25}"/>
                </a:ext>
              </a:extLst>
            </p:cNvPr>
            <p:cNvSpPr/>
            <p:nvPr/>
          </p:nvSpPr>
          <p:spPr>
            <a:xfrm>
              <a:off x="2309185" y="5280065"/>
              <a:ext cx="182880" cy="182880"/>
            </a:xfrm>
            <a:prstGeom prst="ellipse">
              <a:avLst/>
            </a:prstGeom>
            <a:solidFill>
              <a:srgbClr val="FEC00F"/>
            </a:solidFill>
            <a:ln w="9525" cap="rnd" cmpd="sng" algn="ctr">
              <a:solidFill>
                <a:srgbClr val="FEC00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576D3C0B-515C-334D-51D5-D62304CA007A}"/>
                </a:ext>
              </a:extLst>
            </p:cNvPr>
            <p:cNvSpPr/>
            <p:nvPr/>
          </p:nvSpPr>
          <p:spPr>
            <a:xfrm>
              <a:off x="2935838" y="5280065"/>
              <a:ext cx="182880" cy="182880"/>
            </a:xfrm>
            <a:prstGeom prst="ellipse">
              <a:avLst/>
            </a:prstGeom>
            <a:solidFill>
              <a:srgbClr val="FEC00F"/>
            </a:solidFill>
            <a:ln w="9525" cap="rnd" cmpd="sng" algn="ctr">
              <a:solidFill>
                <a:srgbClr val="FEC00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E04E26A1-A5F5-6C8D-9E39-E8CF91C66C2F}"/>
                </a:ext>
              </a:extLst>
            </p:cNvPr>
            <p:cNvSpPr/>
            <p:nvPr/>
          </p:nvSpPr>
          <p:spPr>
            <a:xfrm>
              <a:off x="3600590" y="5265208"/>
              <a:ext cx="182880" cy="182880"/>
            </a:xfrm>
            <a:prstGeom prst="ellipse">
              <a:avLst/>
            </a:prstGeom>
            <a:solidFill>
              <a:schemeClr val="accent3"/>
            </a:solidFill>
            <a:ln w="9525" cap="rnd" cmpd="sng" algn="ctr">
              <a:solidFill>
                <a:schemeClr val="accent3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D7FF7CA8-FA17-5E89-BBE0-BFE3E03CA2D1}"/>
                </a:ext>
              </a:extLst>
            </p:cNvPr>
            <p:cNvSpPr/>
            <p:nvPr/>
          </p:nvSpPr>
          <p:spPr>
            <a:xfrm>
              <a:off x="534750" y="5209876"/>
              <a:ext cx="924668" cy="308400"/>
            </a:xfrm>
            <a:prstGeom prst="rect">
              <a:avLst/>
            </a:prstGeom>
            <a:solidFill>
              <a:srgbClr val="FFFFFF"/>
            </a:solidFill>
            <a:ln w="9525" cap="rnd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1200" b="1" dirty="0">
                  <a:solidFill>
                    <a:srgbClr val="1B365F"/>
                  </a:solidFill>
                </a:rPr>
                <a:t>Oppty 5</a:t>
              </a:r>
            </a:p>
          </p:txBody>
        </p:sp>
      </p:grpSp>
      <p:sp>
        <p:nvSpPr>
          <p:cNvPr id="5" name="Oval 4">
            <a:extLst>
              <a:ext uri="{FF2B5EF4-FFF2-40B4-BE49-F238E27FC236}">
                <a16:creationId xmlns:a16="http://schemas.microsoft.com/office/drawing/2014/main" id="{D0848006-5F0A-DEC9-C6C0-3006E0CE2D3D}"/>
              </a:ext>
            </a:extLst>
          </p:cNvPr>
          <p:cNvSpPr/>
          <p:nvPr/>
        </p:nvSpPr>
        <p:spPr>
          <a:xfrm>
            <a:off x="1615857" y="5719106"/>
            <a:ext cx="182880" cy="182880"/>
          </a:xfrm>
          <a:prstGeom prst="ellipse">
            <a:avLst/>
          </a:prstGeom>
          <a:solidFill>
            <a:srgbClr val="779A44"/>
          </a:solidFill>
          <a:ln w="9525" cap="rnd" cmpd="sng" algn="ctr">
            <a:solidFill>
              <a:srgbClr val="779A4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A300F54D-FFB8-0BA2-2B9F-698E1958D17B}"/>
              </a:ext>
            </a:extLst>
          </p:cNvPr>
          <p:cNvSpPr/>
          <p:nvPr/>
        </p:nvSpPr>
        <p:spPr>
          <a:xfrm>
            <a:off x="2309185" y="5719106"/>
            <a:ext cx="182880" cy="182880"/>
          </a:xfrm>
          <a:prstGeom prst="ellipse">
            <a:avLst/>
          </a:prstGeom>
          <a:solidFill>
            <a:srgbClr val="FEC00F"/>
          </a:solidFill>
          <a:ln w="9525" cap="rnd" cmpd="sng" algn="ctr">
            <a:solidFill>
              <a:srgbClr val="FEC00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DDD3BD17-3FE5-E823-AF2A-373310607B85}"/>
              </a:ext>
            </a:extLst>
          </p:cNvPr>
          <p:cNvSpPr/>
          <p:nvPr/>
        </p:nvSpPr>
        <p:spPr>
          <a:xfrm>
            <a:off x="2935838" y="5719106"/>
            <a:ext cx="182880" cy="182880"/>
          </a:xfrm>
          <a:prstGeom prst="ellipse">
            <a:avLst/>
          </a:prstGeom>
          <a:solidFill>
            <a:srgbClr val="FEC00F"/>
          </a:solidFill>
          <a:ln w="9525" cap="rnd" cmpd="sng" algn="ctr">
            <a:solidFill>
              <a:srgbClr val="FEC00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47D9F56C-E842-0E11-839D-3DA5F5D2C6CF}"/>
              </a:ext>
            </a:extLst>
          </p:cNvPr>
          <p:cNvSpPr/>
          <p:nvPr/>
        </p:nvSpPr>
        <p:spPr>
          <a:xfrm>
            <a:off x="3600590" y="5719106"/>
            <a:ext cx="182880" cy="182880"/>
          </a:xfrm>
          <a:prstGeom prst="ellipse">
            <a:avLst/>
          </a:prstGeom>
          <a:solidFill>
            <a:srgbClr val="F68298"/>
          </a:solidFill>
          <a:ln w="9525" cap="rnd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97EC0D03-380D-028C-7186-D90C10B0C950}"/>
              </a:ext>
            </a:extLst>
          </p:cNvPr>
          <p:cNvSpPr/>
          <p:nvPr/>
        </p:nvSpPr>
        <p:spPr>
          <a:xfrm>
            <a:off x="534750" y="5656346"/>
            <a:ext cx="924668" cy="308400"/>
          </a:xfrm>
          <a:prstGeom prst="rect">
            <a:avLst/>
          </a:prstGeom>
          <a:solidFill>
            <a:srgbClr val="FFFFFF"/>
          </a:solidFill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200" b="1" dirty="0">
                <a:solidFill>
                  <a:srgbClr val="1B365F"/>
                </a:solidFill>
              </a:rPr>
              <a:t>Oppty 6</a:t>
            </a:r>
          </a:p>
        </p:txBody>
      </p:sp>
      <p:sp>
        <p:nvSpPr>
          <p:cNvPr id="169" name="Oval 168">
            <a:extLst>
              <a:ext uri="{FF2B5EF4-FFF2-40B4-BE49-F238E27FC236}">
                <a16:creationId xmlns:a16="http://schemas.microsoft.com/office/drawing/2014/main" id="{BDBC83CC-585E-88B0-6540-9356D399CEB6}"/>
              </a:ext>
            </a:extLst>
          </p:cNvPr>
          <p:cNvSpPr/>
          <p:nvPr/>
        </p:nvSpPr>
        <p:spPr>
          <a:xfrm>
            <a:off x="1706815" y="6364092"/>
            <a:ext cx="182880" cy="182880"/>
          </a:xfrm>
          <a:prstGeom prst="ellipse">
            <a:avLst/>
          </a:prstGeom>
          <a:solidFill>
            <a:srgbClr val="779A4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779A4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9BE298AB-EF29-E18C-1F60-AEFDB636B32B}"/>
              </a:ext>
            </a:extLst>
          </p:cNvPr>
          <p:cNvSpPr/>
          <p:nvPr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FEC00F"/>
          </a:solidFill>
          <a:ln w="9525" cap="rnd" cmpd="sng" algn="ctr">
            <a:solidFill>
              <a:srgbClr val="FEC00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0">
                <a:solidFill>
                  <a:srgbClr val="231F20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Draft – pre-decisional – for discussion only</a:t>
            </a:r>
            <a:endParaRPr lang="en-US" sz="1200" b="0">
              <a:solidFill>
                <a:srgbClr val="231F20"/>
              </a:solidFill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19CEAB1A-DA2B-F1D3-B849-B4C759CE73E0}"/>
              </a:ext>
            </a:extLst>
          </p:cNvPr>
          <p:cNvSpPr/>
          <p:nvPr/>
        </p:nvSpPr>
        <p:spPr>
          <a:xfrm>
            <a:off x="10964324" y="2765022"/>
            <a:ext cx="776095" cy="14616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A1C5E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1B365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 dirty="0">
                <a:solidFill>
                  <a:srgbClr val="3679B0"/>
                </a:solidFill>
              </a:rPr>
              <a:t>High touch</a:t>
            </a: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B83C9248-BA64-61C0-3AE2-E36A4776F859}"/>
              </a:ext>
            </a:extLst>
          </p:cNvPr>
          <p:cNvSpPr/>
          <p:nvPr/>
        </p:nvSpPr>
        <p:spPr>
          <a:xfrm>
            <a:off x="10964324" y="4301888"/>
            <a:ext cx="776095" cy="67250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CE6F5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1B365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 dirty="0">
                <a:solidFill>
                  <a:srgbClr val="729BD8"/>
                </a:solidFill>
              </a:rPr>
              <a:t>Medium touch</a:t>
            </a: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413D05F8-244F-1F7D-38FF-A4779DA18DE4}"/>
              </a:ext>
            </a:extLst>
          </p:cNvPr>
          <p:cNvSpPr/>
          <p:nvPr/>
        </p:nvSpPr>
        <p:spPr>
          <a:xfrm>
            <a:off x="10964324" y="5049572"/>
            <a:ext cx="776095" cy="62907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3F6FB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1B365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 dirty="0">
                <a:solidFill>
                  <a:srgbClr val="B4C7E6"/>
                </a:solidFill>
              </a:rPr>
              <a:t>Low touch</a:t>
            </a:r>
          </a:p>
        </p:txBody>
      </p:sp>
      <p:sp>
        <p:nvSpPr>
          <p:cNvPr id="103" name="Arrow: Pentagon 102">
            <a:extLst>
              <a:ext uri="{FF2B5EF4-FFF2-40B4-BE49-F238E27FC236}">
                <a16:creationId xmlns:a16="http://schemas.microsoft.com/office/drawing/2014/main" id="{8FF9A644-7C56-8338-46FA-DB3A045F2B99}"/>
              </a:ext>
            </a:extLst>
          </p:cNvPr>
          <p:cNvSpPr/>
          <p:nvPr/>
        </p:nvSpPr>
        <p:spPr>
          <a:xfrm>
            <a:off x="1430844" y="2287145"/>
            <a:ext cx="684295" cy="229798"/>
          </a:xfrm>
          <a:prstGeom prst="homePlate">
            <a:avLst>
              <a:gd name="adj" fmla="val 34706"/>
            </a:avLst>
          </a:prstGeom>
          <a:solidFill>
            <a:srgbClr val="0084CB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Need</a:t>
            </a:r>
          </a:p>
        </p:txBody>
      </p:sp>
      <p:sp>
        <p:nvSpPr>
          <p:cNvPr id="104" name="Arrow: Chevron 103">
            <a:extLst>
              <a:ext uri="{FF2B5EF4-FFF2-40B4-BE49-F238E27FC236}">
                <a16:creationId xmlns:a16="http://schemas.microsoft.com/office/drawing/2014/main" id="{19D294F1-B248-245F-84AE-6CD25FED1FB4}"/>
              </a:ext>
            </a:extLst>
          </p:cNvPr>
          <p:cNvSpPr/>
          <p:nvPr/>
        </p:nvSpPr>
        <p:spPr>
          <a:xfrm>
            <a:off x="2057990" y="2287145"/>
            <a:ext cx="651936" cy="229798"/>
          </a:xfrm>
          <a:prstGeom prst="chevron">
            <a:avLst>
              <a:gd name="adj" fmla="val 35010"/>
            </a:avLst>
          </a:prstGeom>
          <a:solidFill>
            <a:schemeClr val="accent6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Impact</a:t>
            </a:r>
          </a:p>
        </p:txBody>
      </p:sp>
      <p:sp>
        <p:nvSpPr>
          <p:cNvPr id="105" name="Arrow: Chevron 104">
            <a:extLst>
              <a:ext uri="{FF2B5EF4-FFF2-40B4-BE49-F238E27FC236}">
                <a16:creationId xmlns:a16="http://schemas.microsoft.com/office/drawing/2014/main" id="{355F6FE5-C95F-50D1-4703-9653A9C97F62}"/>
              </a:ext>
            </a:extLst>
          </p:cNvPr>
          <p:cNvSpPr/>
          <p:nvPr/>
        </p:nvSpPr>
        <p:spPr>
          <a:xfrm>
            <a:off x="2648993" y="2287145"/>
            <a:ext cx="684295" cy="229798"/>
          </a:xfrm>
          <a:prstGeom prst="chevron">
            <a:avLst>
              <a:gd name="adj" fmla="val 35010"/>
            </a:avLst>
          </a:prstGeom>
          <a:solidFill>
            <a:schemeClr val="accent3">
              <a:lumMod val="7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Fit</a:t>
            </a:r>
          </a:p>
        </p:txBody>
      </p:sp>
      <p:sp>
        <p:nvSpPr>
          <p:cNvPr id="106" name="Arrow: Chevron 105">
            <a:extLst>
              <a:ext uri="{FF2B5EF4-FFF2-40B4-BE49-F238E27FC236}">
                <a16:creationId xmlns:a16="http://schemas.microsoft.com/office/drawing/2014/main" id="{BE8330CC-1C0F-9A6E-0BC7-A0C934B0D834}"/>
              </a:ext>
            </a:extLst>
          </p:cNvPr>
          <p:cNvSpPr/>
          <p:nvPr/>
        </p:nvSpPr>
        <p:spPr>
          <a:xfrm>
            <a:off x="3276138" y="2287145"/>
            <a:ext cx="943437" cy="229798"/>
          </a:xfrm>
          <a:prstGeom prst="chevron">
            <a:avLst>
              <a:gd name="adj" fmla="val 35010"/>
            </a:avLst>
          </a:prstGeom>
          <a:solidFill>
            <a:srgbClr val="DE7C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 Feasibility</a:t>
            </a:r>
          </a:p>
        </p:txBody>
      </p: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BDA70418-39FF-83C5-5E1F-14D9CABFBE4A}"/>
              </a:ext>
            </a:extLst>
          </p:cNvPr>
          <p:cNvCxnSpPr>
            <a:cxnSpLocks/>
          </p:cNvCxnSpPr>
          <p:nvPr/>
        </p:nvCxnSpPr>
        <p:spPr>
          <a:xfrm>
            <a:off x="10899642" y="4980968"/>
            <a:ext cx="869647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Rectangle 169">
            <a:extLst>
              <a:ext uri="{FF2B5EF4-FFF2-40B4-BE49-F238E27FC236}">
                <a16:creationId xmlns:a16="http://schemas.microsoft.com/office/drawing/2014/main" id="{48D5C374-EE4F-2FA4-7FA8-8D5B041414B1}"/>
              </a:ext>
            </a:extLst>
          </p:cNvPr>
          <p:cNvSpPr/>
          <p:nvPr/>
        </p:nvSpPr>
        <p:spPr>
          <a:xfrm>
            <a:off x="562316" y="6228643"/>
            <a:ext cx="3307156" cy="416861"/>
          </a:xfrm>
          <a:prstGeom prst="rect">
            <a:avLst/>
          </a:prstGeom>
          <a:noFill/>
          <a:ln w="9525" cap="rnd" cmpd="sng" algn="ctr">
            <a:solidFill>
              <a:schemeClr val="bg1">
                <a:lumMod val="75000"/>
              </a:schemeClr>
            </a:solidFill>
            <a:prstDash val="sysDash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71" name="Rectangle 170">
            <a:extLst>
              <a:ext uri="{FF2B5EF4-FFF2-40B4-BE49-F238E27FC236}">
                <a16:creationId xmlns:a16="http://schemas.microsoft.com/office/drawing/2014/main" id="{429AB9C6-21FE-788B-BE0C-8EF23B6014EE}"/>
              </a:ext>
            </a:extLst>
          </p:cNvPr>
          <p:cNvSpPr/>
          <p:nvPr/>
        </p:nvSpPr>
        <p:spPr>
          <a:xfrm>
            <a:off x="2006073" y="6289480"/>
            <a:ext cx="924668" cy="30840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200" dirty="0">
                <a:solidFill>
                  <a:srgbClr val="1B365F"/>
                </a:solidFill>
              </a:rPr>
              <a:t>Medium</a:t>
            </a:r>
          </a:p>
        </p:txBody>
      </p:sp>
      <p:sp>
        <p:nvSpPr>
          <p:cNvPr id="172" name="Oval 171">
            <a:extLst>
              <a:ext uri="{FF2B5EF4-FFF2-40B4-BE49-F238E27FC236}">
                <a16:creationId xmlns:a16="http://schemas.microsoft.com/office/drawing/2014/main" id="{CE501F8F-689D-FADA-171F-5125AA96BF87}"/>
              </a:ext>
            </a:extLst>
          </p:cNvPr>
          <p:cNvSpPr/>
          <p:nvPr/>
        </p:nvSpPr>
        <p:spPr>
          <a:xfrm>
            <a:off x="2745784" y="6364092"/>
            <a:ext cx="182880" cy="182880"/>
          </a:xfrm>
          <a:prstGeom prst="ellipse">
            <a:avLst/>
          </a:prstGeom>
          <a:solidFill>
            <a:srgbClr val="FEC00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FEC00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73" name="Rectangle 172">
            <a:extLst>
              <a:ext uri="{FF2B5EF4-FFF2-40B4-BE49-F238E27FC236}">
                <a16:creationId xmlns:a16="http://schemas.microsoft.com/office/drawing/2014/main" id="{39F01F7A-FA50-173C-C305-94902FC265A4}"/>
              </a:ext>
            </a:extLst>
          </p:cNvPr>
          <p:cNvSpPr/>
          <p:nvPr/>
        </p:nvSpPr>
        <p:spPr>
          <a:xfrm>
            <a:off x="3052043" y="6289480"/>
            <a:ext cx="924668" cy="30840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200" dirty="0">
                <a:solidFill>
                  <a:srgbClr val="1B365F"/>
                </a:solidFill>
              </a:rPr>
              <a:t>Low</a:t>
            </a:r>
          </a:p>
        </p:txBody>
      </p:sp>
      <p:sp>
        <p:nvSpPr>
          <p:cNvPr id="174" name="Oval 173">
            <a:extLst>
              <a:ext uri="{FF2B5EF4-FFF2-40B4-BE49-F238E27FC236}">
                <a16:creationId xmlns:a16="http://schemas.microsoft.com/office/drawing/2014/main" id="{A3F5D81C-F3EE-2F68-C1DD-C44491EAAB20}"/>
              </a:ext>
            </a:extLst>
          </p:cNvPr>
          <p:cNvSpPr/>
          <p:nvPr/>
        </p:nvSpPr>
        <p:spPr>
          <a:xfrm>
            <a:off x="3544104" y="6364092"/>
            <a:ext cx="182880" cy="182880"/>
          </a:xfrm>
          <a:prstGeom prst="ellipse">
            <a:avLst/>
          </a:prstGeom>
          <a:solidFill>
            <a:srgbClr val="F6829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779A4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6076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44F1A5-78D7-0D80-B2E0-A871C623B2D3}"/>
              </a:ext>
            </a:extLst>
          </p:cNvPr>
          <p:cNvSpPr/>
          <p:nvPr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FEC00F"/>
          </a:solidFill>
          <a:ln w="9525" cap="rnd" cmpd="sng" algn="ctr">
            <a:solidFill>
              <a:srgbClr val="FEC00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0">
                <a:solidFill>
                  <a:srgbClr val="231F20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Draft – pre-decisional – for discussion only</a:t>
            </a:r>
            <a:endParaRPr lang="en-US" sz="1200" b="0">
              <a:solidFill>
                <a:srgbClr val="231F2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760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8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EE4P_MASTERWIZARD_DRAFT" val="0"/>
  <p:tag name="EE4P_LANGUAGE_ID" val="1033"/>
  <p:tag name="EE4P_MASTERWIZARD_MARGINS" val="0"/>
  <p:tag name="EE4P_STYLE_ID" val="bdVkLN4O"/>
  <p:tag name="EE4P_STYLE_NAME" val="MHSOAC Grid 16:9"/>
  <p:tag name="EE4P_AGENDAWIZARD" val="&lt;ee4p&gt;&lt;layouts&gt;&lt;layout name=&quot;Section Header&quot; id=&quot;227_1-1&quot;&gt;&lt;standard&gt;&lt;textframe horizontalAnchor=&quot;1&quot; marginBottom=&quot;0&quot; marginLeft=&quot;0&quot; marginRight=&quot;0&quot; marginTop=&quot;0&quot; orientation=&quot;1&quot; verticalAnchor=&quot;1&quot; /&gt;&lt;font name=&quot;Trebuchet MS&quot; bold=&quot;0&quot; italic=&quot;0&quot; color=&quot;#ffffff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&quot; title=&quot;&quot; subtitle=&quot;&quot; sizingModeId=&quot;1&quot; fontSize=&quot;24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0&quot; leftSpacing=&quot;0&quot; rightSpacing=&quot;0&quot; dock=&quot;1&quot; fixedWidth=&quot;51.87527&quot; /&gt;&lt;column field=&quot;topic&quot; label=&quot;Topic&quot; leftSpacing=&quot;0&quot; rightDistribute=&quot;1&quot; dock=&quot;1&quot; /&gt;&lt;column field=&quot;responsible&quot; label=&quot;Responsible&quot; visible=&quot;0&quot; checked=&quot;0&quot; leftSpacing=&quot;10&quot; rightDistribute=&quot;1&quot; dock=&quot;1&quot; /&gt;&lt;column field=&quot;freecolumn&quot; label=&quot;&quot; visible=&quot;0&quot; checked=&quot;0&quot; leftSpacing=&quot;10&quot; rightDistribute=&quot;1&quot; dock=&quot;1&quot; /&gt;&lt;column field=&quot;timeslot&quot; label=&quot;Time Slot&quot; visible=&quot;1&quot; checked=&quot;0&quot; leftSpacing=&quot;34&quot; rightSpacing=&quot;0&quot; dock=&quot;2&quot; /&gt;&lt;column field=&quot;pageno&quot; label=&quot;Page No.&quot; visible=&quot;0&quot; checked=&quot;0&quot; leftSpacing=&quot;34&quot; rightSpacing=&quot;0&quot; dock=&quot;2&quot; /&gt;&lt;/columns&gt;&lt;position left=&quot;395.4111&quot; top=&quot;116.9109&quot; width=&quot;515.0769&quot; height=&quot;345.2203&quot; /&gt;&lt;!--&#10;      &lt;subtitle&gt;&#10;      &#10;        &lt;position left=&quot;197.597&quot; top=&quot;369.3848&quot; width=&quot;123.634&quot; height=&quot;115.6044&quot; autoshape=&quot;1&quot; rotation=&quot;0&quot; /&gt;&#10;        &lt;line visible=&quot;1&quot; weight=&quot;0.75&quot; style=&quot;1&quot; dashStyle=&quot;1&quot; foreColor=&quot;14&quot; /&gt;&#10;        &lt;fill visible=&quot;0&quot; /&gt;&#10;        &lt;textframe horizontalAnchor=&quot;1&quot; verticalAnchor=&quot;1&quot; orientation=&quot;1&quot; wordWrap=&quot;1&quot; autoSize=&quot;0&quot; marginLeft=&quot;8.503937&quot; marginRight=&quot;0&quot; marginTop=&quot;14.17323&quot; marginBottom=&quot;0&quot; /&gt;&#10;        &lt;paragraphformat alignment=&quot;1&quot; lineRuleBefore=&quot;0&quot; lineRuleWithin=&quot;1&quot; lineRuleAfter=&quot;0&quot; spaceBefore=&quot;0&quot; spaceWithin=&quot;0.95&quot; spaceAfter=&quot;0&quot; /&gt;&#10;        &lt;font name=&quot;Trebuchet MS&quot; size=&quot;10&quot; bold=&quot;0&quot; italic=&quot;0&quot; underlineStyle=&quot;0&quot; color=&quot;#ffffff&quot; spacing=&quot;0&quot; kerning=&quot;12&quot; /&gt;&#10;      &#10;      &lt;/subtitle&gt;&#10;      --&gt;&lt;settings allowedSizingModeIds=&quot;1|2&quot; allowedFontSizes=&quot;8|9|10.5|11|12|14|16|18|20|22|24&quot; allowedTimeFormatIds=&quot;1|2|3&quot; slideLayout=&quot;11&quot; customLayoutName=&quot;Blank green|Presentation¦Blank green&quot; customLayoutIndex=&quot;&quot; showBreak=&quot;0&quot; singleAgendaSlideSelected=&quot;0&quot; backupSlideTitle=&quot;Unused Slides&quot; topMargin=&quot;0&quot; leftMargin=&quot;0&quot; allowedLevels=&quot;2&quot; itemNoFormats=&quot;{1}¦{1}.{2}¦{3:alphaLC}¦{3:alphaLC}.{4:alphaLC}&quot; customLayoutNameBackup=&quot;Special gray|Presentation¦Special gray&quot; titlePrompt=&quot;Insert Title&quot; namePrompt=&quot;Insert Date&quot; /&gt;&lt;cases&gt;&lt;case level=&quot;1&quot; single=&quot;1&quot; break=&quot;0&quot; topMinSpacing=&quot;5&quot; topMaxSpacing=&quot;15&quot; bottomMinSpacing=&quot;0&quot; bottomMaxSpacing=&quot;0&quot;&gt;&lt;element field=&quot;topic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textframe marginLeft=&quot;0&quot; /&gt;&lt;/element&gt;&lt;element field=&quot;responsible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freecolumn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timeslot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pageno&quot; type=&quot;autoshape&quot; autoShapeType=&quot;1&quot;&gt;&lt;paragraphformat alignment=&quot;3&quot; /&gt;&lt;/element&gt;&lt;/case&gt;&lt;case level=&quot;2&quot; single=&quot;1&quot; break=&quot;0&quot; topMinSpacing=&quot;4&quot; topMaxSpacing=&quot;4&quot; bottomMinSpacing=&quot;0&quot; bottomMaxSpacing=&quot;0&quot;&gt;&lt;element field=&quot;topic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textframe marginLeft=&quot;0&quot; /&gt;&lt;font relativeSize=&quot;0.75&quot; /&gt;&lt;/element&gt;&lt;element field=&quot;responsible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freecolumn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timeslot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pageno&quot; type=&quot;autoshape&quot; autoShapeType=&quot;1&quot;&gt;&lt;paragraphformat alignment=&quot;3&quot; /&gt;&lt;font relativeSize=&quot;0.75&quot; /&gt;&lt;/element&gt;&lt;/case&gt;&lt;/cases&gt;&lt;elements&gt;&lt;element type=&quot;autoshape&quot; autoShapeType=&quot;1&quot; value=&quot;%agendaTitle%&quot; slideType=&quot;1&quot;&gt;&lt;position left=&quot;-345.68251&quot; top=&quot;-45.376146&quot; width=&quot;271.5024&quot; height=&quot;274.7323&quot; autoshape=&quot;1&quot; rotation=&quot;0&quot; /&gt;&lt;line visible=&quot;1&quot; weight=&quot;0.75&quot; style=&quot;1&quot; dashStyle=&quot;1&quot; foreColor=&quot;#ffffff&quot; /&gt;&lt;fill visible=&quot;0&quot; /&gt;&lt;textframe horizontalAnchor=&quot;1&quot; verticalAnchor=&quot;1&quot; orientation=&quot;1&quot; wordWrap=&quot;1&quot; autoSize=&quot;0&quot; marginLeft=&quot;0&quot; marginRight=&quot;0&quot; marginTop=&quot;19.84252&quot; marginBottom=&quot;0&quot; /&gt;&lt;paragraphformat alignment=&quot;2&quot; lineRuleBefore=&quot;0&quot; lineRuleWithin=&quot;1&quot; lineRuleAfter=&quot;0&quot; spaceBefore=&quot;0&quot; spaceWithin=&quot;0.95&quot; spaceAfter=&quot;0&quot; /&gt;&lt;font name=&quot;Trebuchet MS&quot; size=&quot;54&quot; bold=&quot;0&quot; italic=&quot;0&quot; underlineStyle=&quot;0&quot; color=&quot;#ffffff&quot; spacing=&quot;0&quot; kerning=&quot;12&quot; /&gt;&lt;/element&gt;&lt;element type=&quot;autoshape&quot; autoShapeType=&quot;1&quot; value=&quot;%agendaName%&quot; slideType=&quot;1&quot;&gt;&lt;position left=&quot;-197.81411&quot; top=&quot;252.473934&quot; width=&quot;123.634&quot; height=&quot;115.6044&quot; autoshape=&quot;1&quot; rotation=&quot;0&quot; /&gt;&lt;line visible=&quot;1&quot; weight=&quot;0.75&quot; style=&quot;1&quot; dashStyle=&quot;1&quot; foreColor=&quot;#ffffff&quot; /&gt;&lt;fill visible=&quot;0&quot; /&gt;&lt;textframe horizontalAnchor=&quot;1&quot; verticalAnchor=&quot;1&quot; orientation=&quot;1&quot; wordWrap=&quot;1&quot; autoSize=&quot;0&quot; marginLeft=&quot;8.503937&quot; marginRight=&quot;0&quot; marginTop=&quot;14.17323&quot; marginBottom=&quot;0&quot; /&gt;&lt;paragraphformat alignment=&quot;1&quot; lineRuleBefore=&quot;0&quot; lineRuleWithin=&quot;1&quot; lineRuleAfter=&quot;0&quot; spaceBefore=&quot;0&quot; spaceWithin=&quot;0.95&quot; spaceAfter=&quot;0&quot; /&gt;&lt;font name=&quot;Trebuchet MS&quot; size=&quot;10&quot; bold=&quot;0&quot; italic=&quot;0&quot; underlineStyle=&quot;0&quot; color=&quot;#ffffff&quot; spacing=&quot;0&quot; kerning=&quot;12&quot; /&gt;&lt;/element&gt;&lt;element type=&quot;autoshape&quot; autoShapeType=&quot;1&quot; value=&quot;&quot; slideType=&quot;1&quot;&gt;&lt;position left=&quot;-286.10831&quot; top=&quot;252.473934&quot; width=&quot;73.17614&quot; height=&quot;78.41528&quot; autoshape=&quot;1&quot; rotation=&quot;0&quot; /&gt;&lt;line visible=&quot;1&quot; weight=&quot;0.75&quot; style=&quot;1&quot; dashStyle=&quot;1&quot; foreColor=&quot;#ffffff&quot; /&gt;&lt;fill visible=&quot;0&quot; /&gt;&lt;/element&gt;&lt;element type=&quot;autoshape&quot; autoShapeType=&quot;1&quot; value=&quot;&quot; slideType=&quot;2&quot;&gt;&lt;position left=&quot;-294.2502816&quot; top=&quot;-4.4596064&quot; width=&quot;74.61984&quot; height=&quot;74.61984&quot; autoshape=&quot;1&quot; rotation=&quot;0&quot; /&gt;&lt;line visible=&quot;1&quot; weight=&quot;0.75&quot; style=&quot;1&quot; dashStyle=&quot;1&quot; foreColor=&quot;#ffffff&quot; /&gt;&lt;fill visible=&quot;0&quot; /&gt;&lt;/element&gt;&lt;element type=&quot;autoshape&quot; autoShapeType=&quot;1&quot; value=&quot;%topic%&quot; slideType=&quot;2&quot;&gt;&lt;position left=&quot;-294.2502816&quot; top=&quot;93.1711075&quot; width=&quot;758.6493&quot; height=&quot;252.2583&quot; autoshape=&quot;1&quot; rotation=&quot;0&quot; /&gt;&lt;line visible=&quot;1&quot; weight=&quot;0.75&quot; style=&quot;1&quot; dashStyle=&quot;1&quot; foreColor=&quot;#ffffff&quot; /&gt;&lt;fill visible=&quot;0&quot; /&gt;&lt;textframe horizontalAnchor=&quot;1&quot; verticalAnchor=&quot;4&quot; orientation=&quot;1&quot; wordWrap=&quot;1&quot; autoSize=&quot;0&quot; marginLeft=&quot;21.6&quot; marginRight=&quot;21.6&quot; marginTop=&quot;21.6&quot; marginBottom=&quot;10.8&quot; /&gt;&lt;paragraphformat alignment=&quot;1&quot; lineRuleBefore=&quot;0&quot; lineRuleWithin=&quot;0&quot; lineRuleAfter=&quot;0&quot; spaceBefore=&quot;0&quot; spaceWithin=&quot;60&quot; spaceAfter=&quot;0&quot; /&gt;&lt;font name=&quot;Trebuchet MS&quot; size=&quot;54&quot; bold=&quot;0&quot; italic=&quot;0&quot; underlineStyle=&quot;0&quot; color=&quot;#ffffff&quot; spacing=&quot;0&quot; kerning=&quot;12&quot; /&gt;&lt;/element&gt;&lt;/elements&gt;&lt;/layout&gt;&lt;/layouts&gt;&lt;contents&gt;&lt;agenda name=&quot;&quot; title=&quot;&quot; subtitle=&quot;&quot; sizingModeId=&quot;1&quot; fontSize=&quot;24&quot; fontSizeAuto=&quot;1&quot; startTime=&quot;540&quot; timeFormatId=&quot;1&quot; startItemNo=&quot;1&quot; createSingleAgendaSlide=&quot;1&quot; createSeparatingSlides=&quot;1&quot; createBackupSlide=&quot;1&quot; layoutId=&quot;227_1-1&quot; hideSeparatingSlides=&quot;0&quot; createSections=&quot;0&quot;&gt;&lt;columns&gt;&lt;column field=&quot;itemno&quot; label=&quot;No.&quot; checked=&quot;0&quot; leftSpacing=&quot;0&quot; rightSpacing=&quot;0&quot; dock=&quot;1&quot; fixedWidth=&quot;51.87527&quot; /&gt;&lt;column field=&quot;topic&quot; label=&quot;Topic&quot; leftSpacing=&quot;0&quot; rightDistribute=&quot;1&quot; dock=&quot;1&quot; /&gt;&lt;column field=&quot;responsible&quot; label=&quot;Responsible&quot; visible=&quot;0&quot; checked=&quot;0&quot; leftSpacing=&quot;10&quot; rightDistribute=&quot;1&quot; dock=&quot;1&quot; /&gt;&lt;column field=&quot;freecolumn&quot; label=&quot;&quot; visible=&quot;0&quot; checked=&quot;0&quot; leftSpacing=&quot;10&quot; rightDistribute=&quot;1&quot; dock=&quot;1&quot; /&gt;&lt;column field=&quot;timeslot&quot; label=&quot;Time Slot&quot; visible=&quot;1&quot; checked=&quot;0&quot; leftSpacing=&quot;34&quot; rightSpacing=&quot;0&quot; dock=&quot;2&quot; /&gt;&lt;column field=&quot;pageno&quot; label=&quot;Page No.&quot; visible=&quot;0&quot; checked=&quot;0&quot; leftSpacing=&quot;34&quot; rightSpacing=&quot;0&quot; dock=&quot;2&quot; /&gt;&lt;/columns&gt;&lt;items /&gt;&lt;/agenda&gt;&lt;/contents&gt;&lt;/ee4p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gDn1l7TlyrFhv1Bb7CD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AndEndLogos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AndEndLogos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HSOAC Grid 16:9 - 19852">
  <a:themeElements>
    <a:clrScheme name="M">
      <a:dk1>
        <a:srgbClr val="575757"/>
      </a:dk1>
      <a:lt1>
        <a:sysClr val="window" lastClr="FFFFFF"/>
      </a:lt1>
      <a:dk2>
        <a:srgbClr val="1B365F"/>
      </a:dk2>
      <a:lt2>
        <a:srgbClr val="F2F2F2"/>
      </a:lt2>
      <a:accent1>
        <a:srgbClr val="0D1B2F"/>
      </a:accent1>
      <a:accent2>
        <a:srgbClr val="306B9C"/>
      </a:accent2>
      <a:accent3>
        <a:srgbClr val="FEC00F"/>
      </a:accent3>
      <a:accent4>
        <a:srgbClr val="609BCE"/>
      </a:accent4>
      <a:accent5>
        <a:srgbClr val="7F7F7F"/>
      </a:accent5>
      <a:accent6>
        <a:srgbClr val="779A44"/>
      </a:accent6>
      <a:hlink>
        <a:srgbClr val="DE7C00"/>
      </a:hlink>
      <a:folHlink>
        <a:srgbClr val="786897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rgbClr val="9A9A9A"/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231F2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BCG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E3558"/>
      </a:hlink>
      <a:folHlink>
        <a:srgbClr val="670F31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BCG Colors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FC77E"/>
      </a:hlink>
      <a:folHlink>
        <a:srgbClr val="03522D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680CA73816130409120BD207F33E15A" ma:contentTypeVersion="3" ma:contentTypeDescription="Create a new document." ma:contentTypeScope="" ma:versionID="739dbcb8df55ee8cfe74ea9fdebb5bc3">
  <xsd:schema xmlns:xsd="http://www.w3.org/2001/XMLSchema" xmlns:xs="http://www.w3.org/2001/XMLSchema" xmlns:p="http://schemas.microsoft.com/office/2006/metadata/properties" xmlns:ns2="8bcf3460-1866-4757-96f9-015f464770c1" targetNamespace="http://schemas.microsoft.com/office/2006/metadata/properties" ma:root="true" ma:fieldsID="f5d1ec1bbef78cdcae1913ff52585d26" ns2:_="">
    <xsd:import namespace="8bcf3460-1866-4757-96f9-015f464770c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bcf3460-1866-4757-96f9-015f464770c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145DCC46-B1B2-4D09-BB81-A8CA0DDFF8E5}">
  <ds:schemaRefs>
    <ds:schemaRef ds:uri="8bcf3460-1866-4757-96f9-015f464770c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FBA81D0B-2ED7-4678-AE02-72B0BECD9C7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D5C6B22-9CD7-4342-952A-7614D0678D2F}">
  <ds:schemaRefs>
    <ds:schemaRef ds:uri="http://purl.org/dc/terms/"/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  <ds:schemaRef ds:uri="http://purl.org/dc/dcmitype/"/>
    <ds:schemaRef ds:uri="http://schemas.microsoft.com/office/2006/documentManagement/types"/>
    <ds:schemaRef ds:uri="http://purl.org/dc/elements/1.1/"/>
    <ds:schemaRef ds:uri="8bcf3460-1866-4757-96f9-015f464770c1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687</TotalTime>
  <Words>689</Words>
  <Application>Microsoft Office PowerPoint</Application>
  <PresentationFormat>Widescreen</PresentationFormat>
  <Paragraphs>109</Paragraphs>
  <Slides>6</Slides>
  <Notes>2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7" baseType="lpstr">
      <vt:lpstr>MHSOAC Grid 16:9 - 19852</vt:lpstr>
      <vt:lpstr>2024-2027 Strategic Plan Outline </vt:lpstr>
      <vt:lpstr>Update | 2024-2027 Strategic Plan effort</vt:lpstr>
      <vt:lpstr>Recall | We are building a decision-making framework to guide our opportunity assessment…</vt:lpstr>
      <vt:lpstr>Decision-making framework | Criteria identified to guide opportunity assessment</vt:lpstr>
      <vt:lpstr>Illustrative example | Framework can be used to take a portfolio view of investments</vt:lpstr>
      <vt:lpstr>PowerPoint Presentation</vt:lpstr>
    </vt:vector>
  </TitlesOfParts>
  <Company>The Boston Consulting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he Boston Consulting Group</dc:creator>
  <cp:lastModifiedBy>Silk, Anna</cp:lastModifiedBy>
  <cp:revision>3</cp:revision>
  <cp:lastPrinted>2000-01-01T08:00:00Z</cp:lastPrinted>
  <dcterms:created xsi:type="dcterms:W3CDTF">2023-06-05T18:49:49Z</dcterms:created>
  <dcterms:modified xsi:type="dcterms:W3CDTF">2023-06-14T16:39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ormat Name">
    <vt:lpwstr>Grid Format</vt:lpwstr>
  </property>
  <property fmtid="{D5CDD505-2E9C-101B-9397-08002B2CF9AE}" pid="3" name="NXPowerLiteLastOptimized">
    <vt:lpwstr>488649</vt:lpwstr>
  </property>
  <property fmtid="{D5CDD505-2E9C-101B-9397-08002B2CF9AE}" pid="4" name="NXPowerLiteSettings">
    <vt:lpwstr>87000AA0054001</vt:lpwstr>
  </property>
  <property fmtid="{D5CDD505-2E9C-101B-9397-08002B2CF9AE}" pid="5" name="NXPowerLiteVersion">
    <vt:lpwstr>D7.1.8</vt:lpwstr>
  </property>
  <property fmtid="{D5CDD505-2E9C-101B-9397-08002B2CF9AE}" pid="6" name="Template Name">
    <vt:lpwstr>16x9</vt:lpwstr>
  </property>
  <property fmtid="{D5CDD505-2E9C-101B-9397-08002B2CF9AE}" pid="7" name="MSIP_Label_b0d5c4f4-7a29-4385-b7a5-afbe2154ae6f_Enabled">
    <vt:lpwstr>true</vt:lpwstr>
  </property>
  <property fmtid="{D5CDD505-2E9C-101B-9397-08002B2CF9AE}" pid="8" name="MSIP_Label_b0d5c4f4-7a29-4385-b7a5-afbe2154ae6f_SetDate">
    <vt:lpwstr>2023-06-05T19:04:36Z</vt:lpwstr>
  </property>
  <property fmtid="{D5CDD505-2E9C-101B-9397-08002B2CF9AE}" pid="9" name="MSIP_Label_b0d5c4f4-7a29-4385-b7a5-afbe2154ae6f_Method">
    <vt:lpwstr>Standard</vt:lpwstr>
  </property>
  <property fmtid="{D5CDD505-2E9C-101B-9397-08002B2CF9AE}" pid="10" name="MSIP_Label_b0d5c4f4-7a29-4385-b7a5-afbe2154ae6f_Name">
    <vt:lpwstr>Confidential</vt:lpwstr>
  </property>
  <property fmtid="{D5CDD505-2E9C-101B-9397-08002B2CF9AE}" pid="11" name="MSIP_Label_b0d5c4f4-7a29-4385-b7a5-afbe2154ae6f_SiteId">
    <vt:lpwstr>2dfb2f0b-4d21-4268-9559-72926144c918</vt:lpwstr>
  </property>
  <property fmtid="{D5CDD505-2E9C-101B-9397-08002B2CF9AE}" pid="12" name="MSIP_Label_b0d5c4f4-7a29-4385-b7a5-afbe2154ae6f_ActionId">
    <vt:lpwstr>b608ee17-3f93-468d-8b35-6487c0d588fa</vt:lpwstr>
  </property>
  <property fmtid="{D5CDD505-2E9C-101B-9397-08002B2CF9AE}" pid="13" name="MSIP_Label_b0d5c4f4-7a29-4385-b7a5-afbe2154ae6f_ContentBits">
    <vt:lpwstr>0</vt:lpwstr>
  </property>
  <property fmtid="{D5CDD505-2E9C-101B-9397-08002B2CF9AE}" pid="14" name="bcgClassification">
    <vt:lpwstr>bcgConfidential</vt:lpwstr>
  </property>
  <property fmtid="{D5CDD505-2E9C-101B-9397-08002B2CF9AE}" pid="15" name="ContentTypeId">
    <vt:lpwstr>0x0101002680CA73816130409120BD207F33E15A</vt:lpwstr>
  </property>
</Properties>
</file>